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2"/>
  </p:notesMasterIdLst>
  <p:sldIdLst>
    <p:sldId id="325" r:id="rId2"/>
    <p:sldId id="273" r:id="rId3"/>
    <p:sldId id="286" r:id="rId4"/>
    <p:sldId id="270" r:id="rId5"/>
    <p:sldId id="326" r:id="rId6"/>
    <p:sldId id="290" r:id="rId7"/>
    <p:sldId id="330" r:id="rId8"/>
    <p:sldId id="307" r:id="rId9"/>
    <p:sldId id="334" r:id="rId10"/>
    <p:sldId id="293" r:id="rId11"/>
    <p:sldId id="303" r:id="rId12"/>
    <p:sldId id="298" r:id="rId13"/>
    <p:sldId id="309" r:id="rId14"/>
    <p:sldId id="264" r:id="rId15"/>
    <p:sldId id="321" r:id="rId16"/>
    <p:sldId id="328" r:id="rId17"/>
    <p:sldId id="283" r:id="rId18"/>
    <p:sldId id="319" r:id="rId19"/>
    <p:sldId id="322" r:id="rId20"/>
    <p:sldId id="332" r:id="rId21"/>
    <p:sldId id="304" r:id="rId22"/>
    <p:sldId id="333" r:id="rId23"/>
    <p:sldId id="282" r:id="rId24"/>
    <p:sldId id="320" r:id="rId25"/>
    <p:sldId id="318" r:id="rId26"/>
    <p:sldId id="313" r:id="rId27"/>
    <p:sldId id="288" r:id="rId28"/>
    <p:sldId id="329" r:id="rId29"/>
    <p:sldId id="305" r:id="rId30"/>
    <p:sldId id="324" r:id="rId31"/>
  </p:sldIdLst>
  <p:sldSz cx="12192000" cy="6858000"/>
  <p:notesSz cx="6797675" cy="9926638"/>
  <p:custDataLst>
    <p:tags r:id="rId3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слайд" id="{44D14C0E-C3F7-4452-98B3-EF92A4EA1B42}">
          <p14:sldIdLst/>
        </p14:section>
        <p14:section name="Основной раздел" id="{EF943560-ADAA-462B-90D8-E6CB7A89E2D3}">
          <p14:sldIdLst>
            <p14:sldId id="325"/>
            <p14:sldId id="273"/>
            <p14:sldId id="286"/>
            <p14:sldId id="270"/>
            <p14:sldId id="326"/>
            <p14:sldId id="290"/>
            <p14:sldId id="330"/>
            <p14:sldId id="307"/>
            <p14:sldId id="334"/>
            <p14:sldId id="293"/>
            <p14:sldId id="303"/>
            <p14:sldId id="298"/>
            <p14:sldId id="309"/>
            <p14:sldId id="264"/>
            <p14:sldId id="321"/>
            <p14:sldId id="328"/>
            <p14:sldId id="283"/>
            <p14:sldId id="319"/>
            <p14:sldId id="322"/>
            <p14:sldId id="332"/>
            <p14:sldId id="304"/>
            <p14:sldId id="333"/>
            <p14:sldId id="282"/>
            <p14:sldId id="320"/>
            <p14:sldId id="318"/>
            <p14:sldId id="313"/>
            <p14:sldId id="288"/>
            <p14:sldId id="329"/>
            <p14:sldId id="305"/>
            <p14:sldId id="324"/>
          </p14:sldIdLst>
        </p14:section>
        <p14:section name="Заключительный слайд" id="{51DE78DF-C5F9-4CE0-ACC9-B5ED31D5B9A3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B680"/>
    <a:srgbClr val="3C311C"/>
    <a:srgbClr val="2F4E1A"/>
    <a:srgbClr val="F48B34"/>
    <a:srgbClr val="A7BAE3"/>
    <a:srgbClr val="646464"/>
    <a:srgbClr val="666699"/>
    <a:srgbClr val="5C4A2A"/>
    <a:srgbClr val="F0E7E0"/>
    <a:srgbClr val="EEE3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93" autoAdjust="0"/>
    <p:restoredTop sz="95320" autoAdjust="0"/>
  </p:normalViewPr>
  <p:slideViewPr>
    <p:cSldViewPr snapToGrid="0" showGuides="1">
      <p:cViewPr>
        <p:scale>
          <a:sx n="80" d="100"/>
          <a:sy n="80" d="100"/>
        </p:scale>
        <p:origin x="-1506" y="-7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867879-29FD-423E-81BE-5EB9984E5541}" type="datetimeFigureOut">
              <a:rPr lang="ru-RU" smtClean="0"/>
              <a:pPr/>
              <a:t>20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D32746-2917-4FD0-8FFF-E4D189F5B35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259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атериалы подготовлены главным внештатным специалистом диетологом ДЗМ, д.м.н. А.В. Стародубовой, </a:t>
            </a:r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заведующим организационно-методическим отделом по диетологии НИИОЗММ ДЗМ, врачом-диетологом высшей категории </a:t>
            </a:r>
            <a:r>
              <a:rPr lang="ru-RU" baseline="0" dirty="0" smtClean="0"/>
              <a:t>В.В. Егоровой и специалистом </a:t>
            </a:r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рганизационно-методического отдела по диетологии НИИОЗММ ДЗМ А.А. </a:t>
            </a:r>
            <a:r>
              <a:rPr lang="ru-RU" sz="1200" b="0" i="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румберг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D32746-2917-4FD0-8FFF-E4D189F5B353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7731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D32746-2917-4FD0-8FFF-E4D189F5B353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592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D32746-2917-4FD0-8FFF-E4D189F5B353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4020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D32746-2917-4FD0-8FFF-E4D189F5B353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682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07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14475" y="2164080"/>
            <a:ext cx="9144000" cy="132587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Прямоугольник 30"/>
          <p:cNvSpPr/>
          <p:nvPr userDrawn="1"/>
        </p:nvSpPr>
        <p:spPr>
          <a:xfrm>
            <a:off x="9772650" y="990409"/>
            <a:ext cx="2628900" cy="5191124"/>
          </a:xfrm>
          <a:prstGeom prst="rect">
            <a:avLst/>
          </a:prstGeom>
          <a:blipFill dpi="0" rotWithShape="1">
            <a:blip r:embed="rId7" cstate="print">
              <a:alphaModFix amt="22000"/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a:blipFill>
          <a:ln>
            <a:solidFill>
              <a:schemeClr val="accent2">
                <a:lumMod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14475" y="4255453"/>
            <a:ext cx="9144000" cy="35634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1534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699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-1" y="-3105"/>
            <a:ext cx="12192001" cy="677047"/>
          </a:xfrm>
          <a:prstGeom prst="rect">
            <a:avLst/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партамент здравоохранения города Москвы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237791" y="6539271"/>
            <a:ext cx="2743200" cy="2964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2A00BA-D50A-4079-8F78-F38482C37EBD}" type="slidenum">
              <a:rPr lang="ru-RU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" y="-7034"/>
            <a:ext cx="569743" cy="684904"/>
          </a:xfrm>
          <a:prstGeom prst="rect">
            <a:avLst/>
          </a:prstGeom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563880" y="849630"/>
            <a:ext cx="11064240" cy="66484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400" b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3880" y="1737788"/>
            <a:ext cx="11064240" cy="448203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тек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5372882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848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-1" y="-3105"/>
            <a:ext cx="12192001" cy="677047"/>
          </a:xfrm>
          <a:prstGeom prst="rect">
            <a:avLst/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партамент здравоохранения города Москвы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6498000"/>
            <a:ext cx="12192000" cy="360000"/>
          </a:xfrm>
          <a:prstGeom prst="rect">
            <a:avLst/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" y="-7034"/>
            <a:ext cx="569743" cy="684904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24000" y="2667000"/>
            <a:ext cx="9144000" cy="132587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800" b="1" baseline="0">
                <a:solidFill>
                  <a:schemeClr val="accent2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4043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3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3638"/>
            <a:ext cx="2844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794E61-4A93-49A2-8D77-42A5CF2E8796}" type="datetimeFigureOut">
              <a:rPr lang="ru-RU"/>
              <a:pPr>
                <a:defRPr/>
              </a:pPr>
              <a:t>20.04.2023</a:t>
            </a:fld>
            <a:endParaRPr lang="ru-RU"/>
          </a:p>
        </p:txBody>
      </p:sp>
      <p:sp>
        <p:nvSpPr>
          <p:cNvPr id="3" name="Rectangle 44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3638"/>
            <a:ext cx="2844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CE1C95-05D3-4534-AC81-079C22236A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691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68519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1" y="-3105"/>
            <a:ext cx="12192001" cy="677047"/>
          </a:xfrm>
          <a:prstGeom prst="rect">
            <a:avLst/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партамент здравоохранения города Москвы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6498000"/>
            <a:ext cx="12192000" cy="360000"/>
          </a:xfrm>
          <a:prstGeom prst="rect">
            <a:avLst/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" y="-7034"/>
            <a:ext cx="569743" cy="68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444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0" r:id="rId2"/>
    <p:sldLayoutId id="2147483651" r:id="rId3"/>
    <p:sldLayoutId id="2147483654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4A7C2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6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1.wdp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3.wdp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2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4.wdp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16.wdp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7.wdp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18.wdp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9.wdp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5" Type="http://schemas.openxmlformats.org/officeDocument/2006/relationships/image" Target="../media/image12.jpeg"/><Relationship Id="rId4" Type="http://schemas.microsoft.com/office/2007/relationships/hdphoto" Target="../media/hdphoto4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1494033" y="1015207"/>
            <a:ext cx="9144000" cy="1325879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 </a:t>
            </a:r>
            <a:r>
              <a:rPr lang="ru-RU" sz="6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ринципы здорового питания</a:t>
            </a:r>
            <a:endParaRPr lang="ru-RU" sz="6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386" name="Picture 2" descr="C:\Users\user\Desktop\images (22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034" y="2369931"/>
            <a:ext cx="3093155" cy="2985097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0" y="5522432"/>
            <a:ext cx="12192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Материалы подготовлены</a:t>
            </a:r>
          </a:p>
          <a:p>
            <a:pPr algn="ctr"/>
            <a:r>
              <a:rPr lang="ru-RU" sz="1400" dirty="0" smtClean="0"/>
              <a:t> </a:t>
            </a:r>
            <a:r>
              <a:rPr lang="ru-RU" sz="1400" dirty="0" smtClean="0"/>
              <a:t>Главным </a:t>
            </a:r>
            <a:r>
              <a:rPr lang="ru-RU" sz="1400" dirty="0" smtClean="0"/>
              <a:t>внештатным специалистом диетологом ДЗМ, д.м.н. А.В. </a:t>
            </a:r>
            <a:r>
              <a:rPr lang="ru-RU" sz="1400" dirty="0" smtClean="0"/>
              <a:t>Стародубовой,</a:t>
            </a:r>
            <a:endParaRPr lang="ru-RU" sz="1400" dirty="0" smtClean="0"/>
          </a:p>
          <a:p>
            <a:pPr algn="ctr"/>
            <a:r>
              <a:rPr lang="ru-RU" sz="1400" dirty="0"/>
              <a:t>с</a:t>
            </a:r>
            <a:r>
              <a:rPr lang="ru-RU" sz="1400" dirty="0" smtClean="0"/>
              <a:t>отрудниками</a:t>
            </a:r>
            <a:r>
              <a:rPr lang="ru-RU" sz="1400" dirty="0" smtClean="0"/>
              <a:t> организационно-методического отдела </a:t>
            </a:r>
            <a:r>
              <a:rPr lang="ru-RU" sz="1400" dirty="0" smtClean="0"/>
              <a:t>по диетологии </a:t>
            </a:r>
            <a:r>
              <a:rPr lang="ru-RU" sz="1400" dirty="0" smtClean="0"/>
              <a:t>ГБУ «</a:t>
            </a:r>
            <a:r>
              <a:rPr lang="ru-RU" sz="1400" smtClean="0"/>
              <a:t>НИИОЗММ ДЗМ»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73122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29732" y="705702"/>
            <a:ext cx="11695289" cy="664846"/>
          </a:xfrm>
          <a:noFill/>
        </p:spPr>
        <p:txBody>
          <a:bodyPr>
            <a:no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вый закон питания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Объект 2"/>
          <p:cNvSpPr>
            <a:spLocks noGrp="1"/>
          </p:cNvSpPr>
          <p:nvPr>
            <p:ph type="subTitle" idx="1"/>
          </p:nvPr>
        </p:nvSpPr>
        <p:spPr>
          <a:xfrm>
            <a:off x="1230489" y="3769924"/>
            <a:ext cx="9922933" cy="79587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ru-RU" alt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3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Font typeface="Wingdings" pitchFamily="2" charset="2"/>
              <a:buNone/>
            </a:pPr>
            <a:endParaRPr lang="ru-RU" altLang="ru-RU" sz="3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Wingdings" pitchFamily="2" charset="2"/>
              <a:buNone/>
            </a:pPr>
            <a:endParaRPr lang="ru-RU" altLang="ru-RU" sz="2800" dirty="0" smtClean="0"/>
          </a:p>
          <a:p>
            <a:pPr marL="0" indent="0" algn="ctr">
              <a:buFont typeface="Wingdings" pitchFamily="2" charset="2"/>
              <a:buNone/>
            </a:pPr>
            <a:endParaRPr lang="ru-RU" altLang="ru-RU" sz="2800" dirty="0" smtClean="0"/>
          </a:p>
          <a:p>
            <a:pPr marL="0" indent="0" algn="ctr">
              <a:buFont typeface="Wingdings" pitchFamily="2" charset="2"/>
              <a:buNone/>
            </a:pPr>
            <a:endParaRPr lang="ru-RU" altLang="ru-RU" sz="2800" dirty="0" smtClean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114844" y="1885244"/>
            <a:ext cx="45719" cy="4571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Горизонтальный свиток 7"/>
          <p:cNvSpPr/>
          <p:nvPr/>
        </p:nvSpPr>
        <p:spPr>
          <a:xfrm>
            <a:off x="455510" y="1736280"/>
            <a:ext cx="11243734" cy="3934178"/>
          </a:xfrm>
          <a:prstGeom prst="horizontalScroll">
            <a:avLst>
              <a:gd name="adj" fmla="val 12801"/>
            </a:avLst>
          </a:prstGeom>
          <a:blipFill>
            <a:blip r:embed="rId2" cstate="print"/>
            <a:tile tx="0" ty="0" sx="100000" sy="100000" flip="none" algn="tl"/>
          </a:blip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2450CA"/>
              </a:buClr>
            </a:pPr>
            <a:r>
              <a:rPr lang="ru-RU" sz="2800" dirty="0" smtClean="0">
                <a:solidFill>
                  <a:srgbClr val="17260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жно потратить в течение дня то количество </a:t>
            </a:r>
          </a:p>
          <a:p>
            <a:pPr>
              <a:buClr>
                <a:srgbClr val="2450CA"/>
              </a:buClr>
            </a:pPr>
            <a:r>
              <a:rPr lang="ru-RU" sz="28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ргии, которое было получено с пищей.</a:t>
            </a:r>
          </a:p>
          <a:p>
            <a:pPr>
              <a:buClr>
                <a:srgbClr val="2450CA"/>
              </a:buClr>
            </a:pPr>
            <a:endParaRPr lang="ru-RU" sz="28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2450CA"/>
              </a:buClr>
            </a:pP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РАТИЛ = СЪЕЛ </a:t>
            </a:r>
            <a:endParaRPr lang="ru-RU" sz="28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411" name="Picture 3" descr="C:\Users\user\Desktop\Без названия (4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5" r="8985"/>
          <a:stretch/>
        </p:blipFill>
        <p:spPr bwMode="auto">
          <a:xfrm>
            <a:off x="9169858" y="2740531"/>
            <a:ext cx="2212623" cy="1637424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4364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204611" y="1295477"/>
            <a:ext cx="11695289" cy="337350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306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372533" y="689393"/>
            <a:ext cx="10986910" cy="666044"/>
          </a:xfrm>
          <a:prstGeom prst="rect">
            <a:avLst/>
          </a:prstGeom>
        </p:spPr>
        <p:txBody>
          <a:bodyPr anchor="ctr"/>
          <a:lstStyle/>
          <a:p>
            <a:pPr algn="ctr" eaLnBrk="1" hangingPunct="1">
              <a:defRPr/>
            </a:pPr>
            <a:r>
              <a:rPr lang="ru-RU" sz="3600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упление </a:t>
            </a:r>
            <a:r>
              <a:rPr lang="ru-RU" sz="3600" b="1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нергии с пищей</a:t>
            </a:r>
          </a:p>
        </p:txBody>
      </p:sp>
      <p:sp>
        <p:nvSpPr>
          <p:cNvPr id="98309" name="Rectangle 5"/>
          <p:cNvSpPr>
            <a:spLocks noChangeArrowheads="1"/>
          </p:cNvSpPr>
          <p:nvPr/>
        </p:nvSpPr>
        <p:spPr bwMode="auto">
          <a:xfrm>
            <a:off x="422571" y="1587462"/>
            <a:ext cx="11111090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ми источниками  энергии </a:t>
            </a:r>
            <a:r>
              <a:rPr 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вляются углеводы и жиры, в </a:t>
            </a:r>
            <a:r>
              <a:rPr 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ньшей 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пени, белки пищи</a:t>
            </a:r>
            <a:endParaRPr lang="ru-RU" sz="3200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800" dirty="0">
              <a:solidFill>
                <a:srgbClr val="13200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>
                <a:solidFill>
                  <a:srgbClr val="13200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ислении </a:t>
            </a:r>
            <a:endParaRPr lang="ru-RU" sz="2800" dirty="0" smtClean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грамма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лка 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</a:t>
            </a:r>
            <a:r>
              <a:rPr 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глеводов выделяется 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оло </a:t>
            </a:r>
            <a:r>
              <a:rPr lang="ru-RU" sz="2800" b="1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кал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  <a:p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окислении </a:t>
            </a:r>
            <a:r>
              <a:rPr 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грамма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жиров </a:t>
            </a:r>
            <a:r>
              <a:rPr 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800" b="1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 </a:t>
            </a:r>
            <a:r>
              <a:rPr 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кал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</a:t>
            </a:r>
            <a:endParaRPr lang="ru-RU" sz="2800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2467" name="Picture 8" descr="&amp;Kcy;&amp;acy;&amp;rcy;&amp;tcy;&amp;icy;&amp;ncy;&amp;kcy;&amp;acy; 20 &amp;icy;&amp;zcy; 9044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22091" y="4711530"/>
            <a:ext cx="2681287" cy="1691922"/>
          </a:xfrm>
          <a:prstGeom prst="rect">
            <a:avLst/>
          </a:prstGeom>
          <a:noFill/>
          <a:ln w="9525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>
            <a:softEdge rad="127000"/>
          </a:effectLst>
        </p:spPr>
      </p:pic>
      <p:pic>
        <p:nvPicPr>
          <p:cNvPr id="11266" name="Picture 2" descr="C:\Users\user\Desktop\128586354_Olivkovoe_masl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044" y="4668985"/>
            <a:ext cx="2810933" cy="1777012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 descr="C:\Users\user\Desktop\fast-uglevody-0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824" y="4747747"/>
            <a:ext cx="2539998" cy="1740795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39399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3306379" y="2940659"/>
            <a:ext cx="5742144" cy="381916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45331" y="698341"/>
            <a:ext cx="11064240" cy="664845"/>
          </a:xfrm>
        </p:spPr>
        <p:txBody>
          <a:bodyPr>
            <a:no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о энергетического баланса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39259" y="1731406"/>
            <a:ext cx="11064240" cy="4482037"/>
          </a:xfrm>
          <a:ln>
            <a:noFill/>
          </a:ln>
        </p:spPr>
        <p:txBody>
          <a:bodyPr/>
          <a:lstStyle/>
          <a:p>
            <a:pPr>
              <a:buFont typeface="Wingdings" panose="05000000000000000000" pitchFamily="2" charset="2"/>
              <a:buChar char="Ø"/>
              <a:defRPr/>
            </a:pPr>
            <a:endParaRPr lang="ru-RU" sz="24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/>
            </a:pP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/>
            </a:pPr>
            <a:endParaRPr lang="ru-RU" sz="24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24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00 ккал =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 грамм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много шоколада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 </a:t>
            </a:r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ва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 штук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дальных орешков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 грамм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вердого сыра</a:t>
            </a:r>
          </a:p>
          <a:p>
            <a:pPr>
              <a:defRPr/>
            </a:pP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0 грамм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жирной говядины</a:t>
            </a:r>
          </a:p>
        </p:txBody>
      </p:sp>
      <p:pic>
        <p:nvPicPr>
          <p:cNvPr id="16386" name="Picture 2" descr="C:\Users\user\Desktop\images (39)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0" r="58285"/>
          <a:stretch/>
        </p:blipFill>
        <p:spPr bwMode="auto">
          <a:xfrm>
            <a:off x="3712823" y="1616121"/>
            <a:ext cx="1109959" cy="1542872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7" name="Picture 3" descr="C:\Users\user\Desktop\Без названия (3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7" t="794" r="19791" b="-794"/>
          <a:stretch/>
        </p:blipFill>
        <p:spPr bwMode="auto">
          <a:xfrm>
            <a:off x="8097015" y="1616121"/>
            <a:ext cx="1196622" cy="1426366"/>
          </a:xfrm>
          <a:prstGeom prst="rect">
            <a:avLst/>
          </a:prstGeom>
          <a:noFill/>
          <a:scene3d>
            <a:camera prst="isometricOffAxis2Lef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9" name="Picture 5" descr="C:\Users\user\Desktop\images (38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632" y="1523737"/>
            <a:ext cx="929924" cy="1521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C:\Users\user\Desktop\images (36)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94"/>
          <a:stretch/>
        </p:blipFill>
        <p:spPr bwMode="auto">
          <a:xfrm>
            <a:off x="1288770" y="2806663"/>
            <a:ext cx="1643239" cy="1600200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1" name="Picture 7" descr="C:\Users\user\Desktop\images (35)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21" r="10883"/>
          <a:stretch/>
        </p:blipFill>
        <p:spPr bwMode="auto">
          <a:xfrm>
            <a:off x="1523368" y="4848031"/>
            <a:ext cx="1174044" cy="1374058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C:\Users\user\Desktop\images (34)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59"/>
          <a:stretch/>
        </p:blipFill>
        <p:spPr bwMode="auto">
          <a:xfrm>
            <a:off x="9571413" y="3185067"/>
            <a:ext cx="1310994" cy="1374058"/>
          </a:xfrm>
          <a:prstGeom prst="rect">
            <a:avLst/>
          </a:prstGeom>
          <a:noFill/>
          <a:scene3d>
            <a:camera prst="isometricOffAxis2Left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3" name="Picture 9" descr="C:\Users\user\Desktop\images (37)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10"/>
          <a:stretch/>
        </p:blipFill>
        <p:spPr bwMode="auto">
          <a:xfrm>
            <a:off x="9483779" y="4925492"/>
            <a:ext cx="1468298" cy="1252714"/>
          </a:xfrm>
          <a:prstGeom prst="rect">
            <a:avLst/>
          </a:prstGeom>
          <a:noFill/>
          <a:scene3d>
            <a:camera prst="perspectiveContrastingLeftFacing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6466163" y="1802657"/>
            <a:ext cx="1048646" cy="584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 минут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311914" y="1802657"/>
            <a:ext cx="914400" cy="584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час 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0860982" y="3579646"/>
            <a:ext cx="1170633" cy="584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 минут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0882407" y="5291123"/>
            <a:ext cx="1021092" cy="584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часа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398425" y="1809376"/>
            <a:ext cx="1314397" cy="584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0 минут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60881" y="2940659"/>
            <a:ext cx="1046553" cy="7707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инут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51403" y="5259399"/>
            <a:ext cx="1201787" cy="584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 минут</a:t>
            </a:r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67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7975" y="683365"/>
            <a:ext cx="11695289" cy="664846"/>
          </a:xfrm>
          <a:noFill/>
        </p:spPr>
        <p:txBody>
          <a:bodyPr>
            <a:no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торой закон питания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Объект 2"/>
          <p:cNvSpPr>
            <a:spLocks noGrp="1"/>
          </p:cNvSpPr>
          <p:nvPr>
            <p:ph type="subTitle" idx="1"/>
          </p:nvPr>
        </p:nvSpPr>
        <p:spPr>
          <a:xfrm>
            <a:off x="1230489" y="3769924"/>
            <a:ext cx="9922933" cy="79587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ru-RU" alt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3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Font typeface="Wingdings" pitchFamily="2" charset="2"/>
              <a:buNone/>
            </a:pPr>
            <a:endParaRPr lang="ru-RU" altLang="ru-RU" sz="3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Font typeface="Wingdings" pitchFamily="2" charset="2"/>
              <a:buNone/>
            </a:pPr>
            <a:endParaRPr lang="ru-RU" altLang="ru-RU" sz="2800" dirty="0" smtClean="0"/>
          </a:p>
          <a:p>
            <a:pPr marL="0" indent="0" algn="ctr">
              <a:buFont typeface="Wingdings" pitchFamily="2" charset="2"/>
              <a:buNone/>
            </a:pPr>
            <a:endParaRPr lang="ru-RU" altLang="ru-RU" sz="2800" dirty="0" smtClean="0"/>
          </a:p>
          <a:p>
            <a:pPr marL="0" indent="0" algn="ctr">
              <a:buFont typeface="Wingdings" pitchFamily="2" charset="2"/>
              <a:buNone/>
            </a:pPr>
            <a:endParaRPr lang="ru-RU" altLang="ru-RU" sz="2800" dirty="0" smtClean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114844" y="1885244"/>
            <a:ext cx="45719" cy="4571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Горизонтальный свиток 7"/>
          <p:cNvSpPr/>
          <p:nvPr/>
        </p:nvSpPr>
        <p:spPr>
          <a:xfrm>
            <a:off x="558877" y="1179689"/>
            <a:ext cx="11243734" cy="3934178"/>
          </a:xfrm>
          <a:prstGeom prst="horizontalScroll">
            <a:avLst>
              <a:gd name="adj" fmla="val 12801"/>
            </a:avLst>
          </a:prstGeom>
          <a:blipFill>
            <a:blip r:embed="rId2" cstate="print"/>
            <a:tile tx="0" ty="0" sx="100000" sy="100000" flip="none" algn="tl"/>
          </a:blip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2450CA"/>
              </a:buClr>
            </a:pPr>
            <a:r>
              <a:rPr lang="ru-RU" sz="2800" b="1" dirty="0" smtClean="0">
                <a:solidFill>
                  <a:srgbClr val="17260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buClr>
                <a:srgbClr val="2450CA"/>
              </a:buClr>
            </a:pPr>
            <a:endParaRPr lang="ru-RU" sz="2800" b="1" dirty="0">
              <a:solidFill>
                <a:srgbClr val="17260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2450CA"/>
              </a:buClr>
            </a:pP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ение потребностей организма  в пищевых веществах: белках, жирах, углеводах, витаминах и минеральных веществах необходимо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нужном количестве и соотношении</a:t>
            </a:r>
          </a:p>
          <a:p>
            <a:pPr>
              <a:buClr>
                <a:srgbClr val="2450CA"/>
              </a:buClr>
            </a:pPr>
            <a:endParaRPr lang="ru-RU" sz="2800" b="1" i="1" dirty="0" smtClean="0">
              <a:solidFill>
                <a:srgbClr val="17260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AutoShape 2" descr="ÐÐ°ÑÑÐ¸Ð½ÐºÐ¸ Ð¿Ð¾ Ð·Ð°Ð¿ÑÐ¾ÑÑ ÐÐÐÐ ÐÐ ÐÐ ÐÐÐ£ÐÐ¢ÐÐ ÐÐÐ¢ÐÐÐÐ¯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1791" y="4748947"/>
            <a:ext cx="2040820" cy="1700683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443385" y="5230761"/>
            <a:ext cx="79230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ношение белков, жиров, углеводов </a:t>
            </a:r>
            <a:r>
              <a:rPr 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:1:4</a:t>
            </a:r>
          </a:p>
        </p:txBody>
      </p:sp>
    </p:spTree>
    <p:extLst>
      <p:ext uri="{BB962C8B-B14F-4D97-AF65-F5344CB8AC3E}">
        <p14:creationId xmlns:p14="http://schemas.microsoft.com/office/powerpoint/2010/main" val="3624265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61786" y="665976"/>
            <a:ext cx="11064240" cy="664845"/>
          </a:xfrm>
        </p:spPr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релка здорового питания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164667" y="1391878"/>
            <a:ext cx="6812844" cy="473004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9875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½  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на овощи и фрукты</a:t>
            </a:r>
          </a:p>
          <a:p>
            <a:pPr marL="269875"/>
            <a:endParaRPr lang="ru-RU" sz="28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9875"/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¼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 цельнозерновой хлеб, крупы и продукты из цельного зерна, бобовые</a:t>
            </a:r>
          </a:p>
          <a:p>
            <a:pPr marL="269875"/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269875"/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¼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  на белковые продукты питания диетические сорта рыбы, птицы, молочные и кисломолочные продукты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14489" y="4633800"/>
            <a:ext cx="4740362" cy="17554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порции зависит от </a:t>
            </a:r>
            <a:r>
              <a:rPr 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а, возраста и уровня физической активности</a:t>
            </a:r>
            <a:endParaRPr lang="ru-RU" sz="2800" b="1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218" name="Picture 2" descr="ÐÐ°ÑÑÐ¸Ð½ÐºÐ¸ Ð¿Ð¾ Ð·Ð°Ð¿ÑÐ¾ÑÑ ÑÐ°ÑÐµÐ»ÐºÐ° Ð·Ð´Ð¾ÑÐ¾Ð²Ð¾Ð³Ð¾ Ð¿Ð¸ÑÐ°Ð½Ð¸Ñ ÐºÐ°ÑÑÐ¸Ð½ÐºÐ¸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14" r="12511"/>
          <a:stretch/>
        </p:blipFill>
        <p:spPr bwMode="auto">
          <a:xfrm>
            <a:off x="736735" y="1668105"/>
            <a:ext cx="3400552" cy="2689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103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68655" y="684738"/>
            <a:ext cx="11064240" cy="664845"/>
          </a:xfrm>
        </p:spPr>
        <p:txBody>
          <a:bodyPr>
            <a:normAutofit/>
          </a:bodyPr>
          <a:lstStyle/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и белка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14" name="Picture 2" descr="C:\Users\user\Desktop\Screenshot_2-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05" y="1448860"/>
            <a:ext cx="5905500" cy="486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Скругленный прямоугольник 3"/>
          <p:cNvSpPr/>
          <p:nvPr/>
        </p:nvSpPr>
        <p:spPr>
          <a:xfrm>
            <a:off x="6254044" y="1550460"/>
            <a:ext cx="5813778" cy="484469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sz="2400" b="1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жирные сорта мяса и птицы, рыб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 smtClean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лочные продукты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 smtClean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дукты растительного происхождения: бобовые, цельнозерновые, орехи</a:t>
            </a:r>
            <a:endParaRPr lang="ru-RU" sz="2800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30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355513" y="1456267"/>
            <a:ext cx="11486531" cy="4894959"/>
          </a:xfrm>
          <a:prstGeom prst="roundRect">
            <a:avLst/>
          </a:prstGeom>
          <a:solidFill>
            <a:srgbClr val="F1DED7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66658" y="686492"/>
            <a:ext cx="11064240" cy="664845"/>
          </a:xfrm>
        </p:spPr>
        <p:txBody>
          <a:bodyPr>
            <a:normAutofit/>
          </a:bodyPr>
          <a:lstStyle/>
          <a:p>
            <a:r>
              <a:rPr lang="ru-RU" alt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ясо и мясные продукты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одержимое 2"/>
          <p:cNvSpPr>
            <a:spLocks noGrp="1"/>
          </p:cNvSpPr>
          <p:nvPr>
            <p:ph type="subTitle" idx="1"/>
          </p:nvPr>
        </p:nvSpPr>
        <p:spPr>
          <a:xfrm>
            <a:off x="538718" y="1492587"/>
            <a:ext cx="11120120" cy="440231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 smtClean="0"/>
              <a:t> </a:t>
            </a:r>
            <a:r>
              <a:rPr 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рные сорта 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яса и мясная гастрономия в рационе питания </a:t>
            </a:r>
            <a:r>
              <a:rPr 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щаются</a:t>
            </a: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 рыбу и диетическое сорта мяса и птицы : цыпленок, индейка, кролик, нежирные сорта телятины и говядины</a:t>
            </a:r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/>
          </a:p>
        </p:txBody>
      </p:sp>
      <p:pic>
        <p:nvPicPr>
          <p:cNvPr id="9218" name="Picture 2" descr="C:\Users\user\Desktop\images (11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Marker/>
                    </a14:imgEffect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706" y="4552232"/>
            <a:ext cx="1817686" cy="1209587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C:\Users\user\Desktop\images (13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866" y="4552232"/>
            <a:ext cx="1789478" cy="1190816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78"/>
          <a:stretch/>
        </p:blipFill>
        <p:spPr bwMode="auto">
          <a:xfrm>
            <a:off x="4981783" y="4371974"/>
            <a:ext cx="2466975" cy="1705969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189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496711" y="1641332"/>
            <a:ext cx="11288889" cy="4515556"/>
          </a:xfrm>
          <a:prstGeom prst="roundRect">
            <a:avLst/>
          </a:prstGeom>
          <a:solidFill>
            <a:srgbClr val="F0E7E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09035" y="707246"/>
            <a:ext cx="11064240" cy="664845"/>
          </a:xfrm>
        </p:spPr>
        <p:txBody>
          <a:bodyPr>
            <a:normAutofit/>
          </a:bodyPr>
          <a:lstStyle/>
          <a:p>
            <a:r>
              <a:rPr lang="ru-RU" alt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локо и молочные продукты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96711" y="2079717"/>
            <a:ext cx="6685613" cy="3872089"/>
          </a:xfrm>
        </p:spPr>
        <p:txBody>
          <a:bodyPr/>
          <a:lstStyle/>
          <a:p>
            <a:pPr algn="l">
              <a:defRPr/>
            </a:pPr>
            <a:endParaRPr lang="ru-RU" sz="2400" dirty="0" smtClean="0">
              <a:solidFill>
                <a:srgbClr val="3C311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уется употреблять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-3 порции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лочных и кисломолочных продуктов в день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endParaRPr lang="ru-RU" sz="24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зрослым следует отдавать предпочтение молочным продуктам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пониженной калорийностью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endParaRPr lang="ru-RU" sz="24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лочные и кисломолочные продукты </a:t>
            </a:r>
            <a:b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жный источник кальция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питании</a:t>
            </a:r>
          </a:p>
          <a:p>
            <a:endParaRPr lang="ru-RU" sz="2400" dirty="0"/>
          </a:p>
        </p:txBody>
      </p:sp>
      <p:pic>
        <p:nvPicPr>
          <p:cNvPr id="10242" name="Picture 2" descr="ÐÐ°ÑÑÐ¸Ð½ÐºÐ¸ Ð¿Ð¾ Ð·Ð°Ð¿ÑÐ¾ÑÑ Ð¼Ð¾Ð»Ð¾ÑÐ½ÑÐµ Ð¸ ÐºÐ¸ÑÐ»Ð¾Ð¼Ð¾Ð»Ð¾ÑÐ½ÑÐµ Ð¿ÑÐ¾Ð´ÑÐºÑÑ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9724" y="2641189"/>
            <a:ext cx="4131228" cy="2749146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5451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user\Desktop\images (38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aintBrush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77" y="1264356"/>
            <a:ext cx="11830754" cy="5181598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3778" y="692025"/>
            <a:ext cx="10171288" cy="667921"/>
          </a:xfrm>
        </p:spPr>
        <p:txBody>
          <a:bodyPr>
            <a:no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ыба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661376" y="1419157"/>
            <a:ext cx="6191954" cy="1673902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 полноценного белка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который хорошо усваивается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661376" y="3236181"/>
            <a:ext cx="6191954" cy="1534602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 smtClean="0">
              <a:solidFill>
                <a:srgbClr val="03225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ит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ега-3 жирные кислоты, витамины и минеральные вещества</a:t>
            </a:r>
          </a:p>
          <a:p>
            <a:pPr algn="ctr"/>
            <a:endParaRPr lang="ru-RU" sz="2800" dirty="0">
              <a:solidFill>
                <a:srgbClr val="03225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695245" y="5063511"/>
            <a:ext cx="6158085" cy="1174045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уется употреблять как минимум 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-2 раза в неделю</a:t>
            </a:r>
            <a:endParaRPr lang="ru-RU" sz="28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219" name="Picture 3" descr="C:\Users\user\Desktop\vidy-toshchej-ryby-4-percent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5" t="7605" r="2187" b="3871"/>
          <a:stretch/>
        </p:blipFill>
        <p:spPr bwMode="auto">
          <a:xfrm>
            <a:off x="733778" y="1506620"/>
            <a:ext cx="4312355" cy="4730936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5702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299803" y="1347763"/>
            <a:ext cx="11722863" cy="5008346"/>
          </a:xfrm>
          <a:prstGeom prst="roundRect">
            <a:avLst/>
          </a:prstGeom>
          <a:blipFill>
            <a:blip r:embed="rId2" cstate="print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902178" y="684027"/>
            <a:ext cx="7620000" cy="552001"/>
          </a:xfrm>
        </p:spPr>
        <p:txBody>
          <a:bodyPr>
            <a:no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ехи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712178" y="1614311"/>
            <a:ext cx="6191954" cy="2190044"/>
          </a:xfrm>
          <a:prstGeom prst="roundRect">
            <a:avLst/>
          </a:prstGeom>
          <a:solidFill>
            <a:schemeClr val="bg1"/>
          </a:solidFill>
          <a:ln>
            <a:solidFill>
              <a:srgbClr val="5C4A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езны для здоровья -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ижают сердечно-сосудистые риски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712178" y="4044688"/>
            <a:ext cx="6225820" cy="2013991"/>
          </a:xfrm>
          <a:prstGeom prst="roundRect">
            <a:avLst/>
          </a:prstGeom>
          <a:solidFill>
            <a:schemeClr val="bg1"/>
          </a:solidFill>
          <a:ln>
            <a:solidFill>
              <a:srgbClr val="5C4A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уется употреблять орехи ежедневно в небольшом количестве (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оло 30 грамм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28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338" name="Picture 2" descr="C:\Users\user\Desktop\images (40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Diffused/>
                    </a14:imgEffect>
                    <a14:imgEffect>
                      <a14:sharpenSoften amount="25000"/>
                    </a14:imgEffect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565" r="7055"/>
          <a:stretch/>
        </p:blipFill>
        <p:spPr bwMode="auto">
          <a:xfrm>
            <a:off x="191911" y="1347763"/>
            <a:ext cx="5690247" cy="4710917"/>
          </a:xfrm>
          <a:prstGeom prst="rect">
            <a:avLst/>
          </a:prstGeom>
          <a:noFill/>
          <a:ln>
            <a:solidFill>
              <a:srgbClr val="FF0000"/>
            </a:solidFill>
          </a:ln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Сердце 3"/>
          <p:cNvSpPr/>
          <p:nvPr/>
        </p:nvSpPr>
        <p:spPr>
          <a:xfrm>
            <a:off x="1377244" y="2020712"/>
            <a:ext cx="3397956" cy="3262488"/>
          </a:xfrm>
          <a:prstGeom prst="heart">
            <a:avLst/>
          </a:prstGeom>
          <a:noFill/>
          <a:ln w="76200">
            <a:solidFill>
              <a:srgbClr val="C00000"/>
            </a:solidFill>
          </a:ln>
          <a:effectLst>
            <a:glow rad="228600">
              <a:srgbClr val="C00000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846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12889" y="1072444"/>
            <a:ext cx="6637867" cy="4443244"/>
          </a:xfrm>
          <a:prstGeom prst="rect">
            <a:avLst/>
          </a:prstGeom>
          <a:solidFill>
            <a:srgbClr val="E0ECFA"/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b="1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ая </a:t>
            </a:r>
            <a:r>
              <a:rPr lang="ru-RU" b="1" cap="all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ивность</a:t>
            </a:r>
          </a:p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b="1" cap="all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b="1" u="sng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оровое </a:t>
            </a:r>
            <a:r>
              <a:rPr lang="ru-RU" b="1" u="sng" cap="all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тание</a:t>
            </a:r>
          </a:p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b="1" u="sng" cap="all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b="1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аз от курения, наркотиков и употребления </a:t>
            </a:r>
            <a:r>
              <a:rPr lang="ru-RU" b="1" cap="all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коголя</a:t>
            </a:r>
          </a:p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b="1" cap="all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b="1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чная и общественная </a:t>
            </a:r>
            <a:r>
              <a:rPr lang="ru-RU" b="1" cap="all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гиена</a:t>
            </a:r>
          </a:p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ru-RU" b="1" cap="all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9246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b="1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орошее психоэмоциональное состояние</a:t>
            </a:r>
          </a:p>
        </p:txBody>
      </p:sp>
      <p:pic>
        <p:nvPicPr>
          <p:cNvPr id="9218" name="Picture 2" descr="C:\Users\user\Desktop\533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risscrossEtching/>
                    </a14:imgEffect>
                    <a14:imgEffect>
                      <a14:sharpenSoften amount="50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66043"/>
            <a:ext cx="12191999" cy="599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978" y="666041"/>
            <a:ext cx="11064240" cy="664845"/>
          </a:xfrm>
        </p:spPr>
        <p:txBody>
          <a:bodyPr>
            <a:noAutofit/>
          </a:bodyPr>
          <a:lstStyle/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доровый образ жизни</a:t>
            </a:r>
          </a:p>
        </p:txBody>
      </p:sp>
      <p:pic>
        <p:nvPicPr>
          <p:cNvPr id="4" name="Рисунок 1"/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37" t="5348" r="6085" b="-124"/>
          <a:stretch/>
        </p:blipFill>
        <p:spPr bwMode="auto">
          <a:xfrm>
            <a:off x="7140222" y="1235062"/>
            <a:ext cx="4865512" cy="4596715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2889" y="1299098"/>
            <a:ext cx="6790266" cy="4728289"/>
          </a:xfrm>
        </p:spPr>
        <p:txBody>
          <a:bodyPr/>
          <a:lstStyle/>
          <a:p>
            <a:pPr marL="1136396" indent="-342900" algn="l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ая активность</a:t>
            </a:r>
          </a:p>
          <a:p>
            <a:pPr marL="1136396" indent="-342900" algn="l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b="1" u="sng" cap="all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оровое </a:t>
            </a:r>
            <a:r>
              <a:rPr lang="ru-RU" b="1" u="sng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тание</a:t>
            </a:r>
          </a:p>
          <a:p>
            <a:pPr marL="1136396" indent="-342900" algn="l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cap="all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аз </a:t>
            </a:r>
            <a:r>
              <a:rPr lang="ru-RU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курения, наркотиков и употребления алкоголя</a:t>
            </a:r>
          </a:p>
          <a:p>
            <a:pPr marL="1136396" indent="-342900" algn="l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cap="all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чная </a:t>
            </a:r>
            <a:r>
              <a:rPr lang="ru-RU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общественная гигиена</a:t>
            </a:r>
          </a:p>
          <a:p>
            <a:pPr marL="1136396" indent="-342900" algn="l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cap="all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орошее </a:t>
            </a:r>
            <a:r>
              <a:rPr lang="ru-RU" cap="all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сихоэмоциональное состояние</a:t>
            </a:r>
          </a:p>
          <a:p>
            <a:endParaRPr lang="ru-RU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426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53048" y="712077"/>
            <a:ext cx="11215177" cy="617631"/>
          </a:xfrm>
        </p:spPr>
        <p:txBody>
          <a:bodyPr>
            <a:noAutofit/>
          </a:bodyPr>
          <a:lstStyle/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ьнозерновые продукты и бобовые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42028" y="1226064"/>
            <a:ext cx="11262292" cy="4977517"/>
          </a:xfrm>
          <a:prstGeom prst="roundRect">
            <a:avLst/>
          </a:prstGeom>
          <a:blipFill>
            <a:blip r:embed="rId2" cstate="print"/>
            <a:tile tx="0" ty="0" sx="100000" sy="100000" flip="none" algn="tl"/>
          </a:blipFill>
          <a:ln>
            <a:solidFill>
              <a:srgbClr val="BD8547"/>
            </a:solidFill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уется отдать предпочтение:</a:t>
            </a:r>
          </a:p>
          <a:p>
            <a:pPr marL="457200" indent="-457200" algn="ctr">
              <a:buFont typeface="Arial" panose="020B0604020202020204" pitchFamily="34" charset="0"/>
              <a:buChar char="•"/>
            </a:pPr>
            <a:endParaRPr lang="ru-RU" sz="16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ctr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хлебу из муки грубого помола, отрубному или хлебу </a:t>
            </a:r>
            <a:b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цельного зерна</a:t>
            </a:r>
          </a:p>
          <a:p>
            <a:pPr marL="457200" indent="-457200" algn="ctr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ctr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шам из цельнозерновых круп, например, гречневой, </a:t>
            </a:r>
            <a:b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шенной, овсяной</a:t>
            </a:r>
          </a:p>
          <a:p>
            <a:pPr marL="457200" indent="-457200" algn="ctr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ctr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аронным изделиям из твердых сортов пшеницы</a:t>
            </a:r>
          </a:p>
          <a:p>
            <a:pPr marL="457200" indent="-457200" algn="ctr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ctr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личным бобовым</a:t>
            </a:r>
          </a:p>
          <a:p>
            <a:pPr marL="457200" indent="-457200" algn="ctr">
              <a:buFont typeface="Arial" panose="020B0604020202020204" pitchFamily="34" charset="0"/>
              <a:buChar char="•"/>
            </a:pPr>
            <a:endParaRPr lang="ru-RU" sz="28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266" name="Picture 2" descr="ÐÐ°ÑÑÐ¸Ð½ÐºÐ¸ Ð¿Ð¾ Ð·Ð°Ð¿ÑÐ¾ÑÑ ÑÐ»ÐµÐ± Ð¾ÑÑÑÐ±Ð½Ð¾Ð¹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028" y="5213461"/>
            <a:ext cx="2635975" cy="1195292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ÐÐ°ÑÑÐ¸Ð½ÐºÐ¸ Ð¿Ð¾ Ð·Ð°Ð¿ÑÐ¾ÑÑ ÐºÐ°ÑÐ° Ð³ÑÐµÑÐ½ÐµÐ²Ð°Ñ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60"/>
          <a:stretch/>
        </p:blipFill>
        <p:spPr bwMode="auto">
          <a:xfrm>
            <a:off x="4831900" y="5356583"/>
            <a:ext cx="2657475" cy="1283363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ÐÐ°ÑÑÐ¸Ð½ÐºÐ¸ Ð¿Ð¾ Ð·Ð°Ð¿ÑÐ¾ÑÑ Ð³Ð¾ÑÐ¾Ñ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9" t="17948" r="3005" b="16615"/>
          <a:stretch/>
        </p:blipFill>
        <p:spPr bwMode="auto">
          <a:xfrm>
            <a:off x="9684690" y="5060014"/>
            <a:ext cx="2154802" cy="1502186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638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3919" y="689115"/>
            <a:ext cx="11064240" cy="664845"/>
          </a:xfrm>
        </p:spPr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глеводы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293" name="Picture 5" descr="C:\Users\user\Desktop\tablica-spisok-produktov-medlennymi-uglevodami-poxudeniya-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044" y="1353960"/>
            <a:ext cx="9386809" cy="4717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425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64543" y="694460"/>
            <a:ext cx="11203109" cy="664845"/>
          </a:xfrm>
        </p:spPr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вощи и фрукты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564543" y="1807197"/>
            <a:ext cx="11020507" cy="442662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Рекомендуется :</a:t>
            </a:r>
          </a:p>
          <a:p>
            <a:pPr algn="ctr"/>
            <a:endParaRPr lang="ru-RU" sz="4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</a:t>
            </a:r>
            <a:endParaRPr lang="ru-RU" sz="2400" b="1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292" name="Picture 4" descr="C:\Users\User\Desktop\image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95" y="2348253"/>
            <a:ext cx="4738322" cy="3153138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576341" y="3195850"/>
            <a:ext cx="589113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дневно употреблять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</a:t>
            </a:r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нее 400 </a:t>
            </a: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.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личных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ощей (без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та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офеля)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ru-RU" sz="2400" dirty="0">
              <a:solidFill>
                <a:schemeClr val="accent3">
                  <a:lumMod val="50000"/>
                </a:schemeClr>
              </a:solidFill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ключать </a:t>
            </a:r>
            <a:r>
              <a:rPr lang="ru-RU" sz="24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ощи или овощное блюдо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каждый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основных приемов пищи</a:t>
            </a:r>
          </a:p>
        </p:txBody>
      </p:sp>
    </p:spTree>
    <p:extLst>
      <p:ext uri="{BB962C8B-B14F-4D97-AF65-F5344CB8AC3E}">
        <p14:creationId xmlns:p14="http://schemas.microsoft.com/office/powerpoint/2010/main" val="132390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1749287"/>
            <a:ext cx="5573078" cy="2981739"/>
          </a:xfrm>
          <a:solidFill>
            <a:srgbClr val="F8B680"/>
          </a:solidFill>
          <a:effectLst>
            <a:softEdge rad="127000"/>
          </a:effectLst>
        </p:spPr>
        <p:txBody>
          <a:bodyPr/>
          <a:lstStyle/>
          <a:p>
            <a:pPr>
              <a:defRPr/>
            </a:pP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ребление сахара нужно ограничить !!!</a:t>
            </a:r>
            <a:endParaRPr lang="ru-RU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58949" y="684738"/>
            <a:ext cx="11064240" cy="664845"/>
          </a:xfrm>
        </p:spPr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хар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15" name="Picture 3" descr="C:\Users\user\Desktop\o_1c06oo8651iik3pl106t10rq1ajj8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0" r="2775"/>
          <a:stretch/>
        </p:blipFill>
        <p:spPr bwMode="auto">
          <a:xfrm>
            <a:off x="5709037" y="1477201"/>
            <a:ext cx="6297434" cy="4833287"/>
          </a:xfrm>
          <a:prstGeom prst="rect">
            <a:avLst/>
          </a:prstGeom>
          <a:solidFill>
            <a:srgbClr val="646464"/>
          </a:solidFill>
          <a:extLst/>
        </p:spPr>
      </p:pic>
      <p:sp>
        <p:nvSpPr>
          <p:cNvPr id="4" name="Прямоугольник 3"/>
          <p:cNvSpPr/>
          <p:nvPr/>
        </p:nvSpPr>
        <p:spPr>
          <a:xfrm>
            <a:off x="5709037" y="1582132"/>
            <a:ext cx="5096787" cy="1273950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>
              <a:defRPr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сократить </a:t>
            </a: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ребление кондитерских изделий, десертов и сладких 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итков</a:t>
            </a:r>
            <a:endParaRPr lang="ru-RU" sz="20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14" name="Picture 2" descr="ÐÐ°ÑÑÐ¸Ð½ÐºÐ¸ Ð¿Ð¾ Ð·Ð°Ð¿ÑÐ¾ÑÑ     ÐÐÐ¢Ð ÐÐÐÐÐÐÐ Ð¡ÐÐ ÐÐ¥Ð  ÐÐ£ÐÐÐ ÐÐ ÐÐÐÐÐ§ÐÐ¢Ð¬ !!!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4687956"/>
            <a:ext cx="2609850" cy="1752600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845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 descr="ÐÐ°ÑÑÐ¸Ð½ÐºÐ¸ Ð¿Ð¾ Ð·Ð°Ð¿ÑÐ¾ÑÑ ÑÐ°ÑÑÐ¸ÑÐµÐ»ÑÐ½ÑÐµ Ð¼Ð°ÑÐ»Ð°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84" y="1305423"/>
            <a:ext cx="11406596" cy="5069978"/>
          </a:xfrm>
          <a:prstGeom prst="rect">
            <a:avLst/>
          </a:prstGeom>
          <a:noFill/>
          <a:effectLst>
            <a:glow rad="127000">
              <a:schemeClr val="accent1">
                <a:alpha val="49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48362" y="693153"/>
            <a:ext cx="9268741" cy="561482"/>
          </a:xfrm>
        </p:spPr>
        <p:txBody>
          <a:bodyPr>
            <a:no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тительные масла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703709" y="1687694"/>
            <a:ext cx="5838718" cy="1130455"/>
          </a:xfrm>
          <a:prstGeom prst="roundRect">
            <a:avLst/>
          </a:prstGeom>
          <a:solidFill>
            <a:srgbClr val="B7CB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жная часть ежедневного рациона питания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703709" y="3087510"/>
            <a:ext cx="5838717" cy="1338051"/>
          </a:xfrm>
          <a:prstGeom prst="roundRect">
            <a:avLst/>
          </a:prstGeom>
          <a:solidFill>
            <a:srgbClr val="B7CB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жно использовать разные виды растительных масел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703709" y="4888087"/>
            <a:ext cx="5838717" cy="1024789"/>
          </a:xfrm>
          <a:prstGeom prst="roundRect">
            <a:avLst/>
          </a:prstGeom>
          <a:solidFill>
            <a:srgbClr val="F8B680"/>
          </a:solidFill>
          <a:ln>
            <a:solidFill>
              <a:srgbClr val="CA9D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граничьте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ливочное масло и майонез</a:t>
            </a:r>
            <a:endParaRPr lang="ru-RU" sz="20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5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848" t="3467" r="13796"/>
          <a:stretch/>
        </p:blipFill>
        <p:spPr bwMode="auto">
          <a:xfrm>
            <a:off x="499434" y="1735032"/>
            <a:ext cx="5065526" cy="4210759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3849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7180" y="672042"/>
            <a:ext cx="11064240" cy="664845"/>
          </a:xfrm>
        </p:spPr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ль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87180" y="1738489"/>
            <a:ext cx="10843122" cy="1752134"/>
          </a:xfrm>
          <a:prstGeom prst="roundRect">
            <a:avLst/>
          </a:prstGeom>
          <a:solidFill>
            <a:srgbClr val="F8B680"/>
          </a:solidFill>
          <a:ln>
            <a:solidFill>
              <a:srgbClr val="5C4A2A"/>
            </a:solidFill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жно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граничить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потребление соли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5 грамм 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день !!!</a:t>
            </a:r>
            <a:endParaRPr lang="ru-RU" sz="28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842951" y="3892225"/>
            <a:ext cx="8119200" cy="1534214"/>
          </a:xfrm>
          <a:prstGeom prst="roundRect">
            <a:avLst/>
          </a:prstGeom>
          <a:solidFill>
            <a:srgbClr val="F8B680"/>
          </a:solidFill>
          <a:ln>
            <a:solidFill>
              <a:srgbClr val="5C4A2A"/>
            </a:solidFill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ли много </a:t>
            </a:r>
            <a:r>
              <a:rPr 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леньях, консервах, копченостях, колбасных изделиях, сырах и т.п.</a:t>
            </a:r>
          </a:p>
        </p:txBody>
      </p:sp>
      <p:pic>
        <p:nvPicPr>
          <p:cNvPr id="11268" name="Picture 4" descr="ÐÐ°ÑÑÐ¸Ð½ÐºÐ¸ Ð¿Ð¾ Ð·Ð°Ð¿ÑÐ¾ÑÑ ÑÑÐºÐ° ÑÐ¾Ð»Ð¸Ñ Ð±Ð»ÑÐ´Ð¾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42" y="4200819"/>
            <a:ext cx="2188105" cy="1456085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Умножение 7"/>
          <p:cNvSpPr/>
          <p:nvPr/>
        </p:nvSpPr>
        <p:spPr>
          <a:xfrm>
            <a:off x="1098113" y="4094187"/>
            <a:ext cx="1365956" cy="1103753"/>
          </a:xfrm>
          <a:prstGeom prst="mathMultiply">
            <a:avLst>
              <a:gd name="adj1" fmla="val 6173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422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7022" y="698576"/>
            <a:ext cx="11064240" cy="664845"/>
          </a:xfrm>
        </p:spPr>
        <p:txBody>
          <a:bodyPr>
            <a:no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жим питания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87022" y="1363421"/>
            <a:ext cx="11119556" cy="433493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ем пищи должен быть </a:t>
            </a:r>
            <a:r>
              <a:rPr lang="ru-RU" sz="32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ярным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дневно в  одинаковое время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3х приемов </a:t>
            </a:r>
            <a:r>
              <a:rPr lang="ru-RU" sz="32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щи в день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32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альное время на прием пищи </a:t>
            </a:r>
            <a:r>
              <a:rPr lang="ru-RU" sz="32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минут</a:t>
            </a:r>
            <a:endParaRPr lang="ru-RU" sz="3200" b="1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362" name="Picture 2" descr="C:\Users\user\Desktop\images (33)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104" t="4525" r="5666" b="4842"/>
          <a:stretch/>
        </p:blipFill>
        <p:spPr bwMode="auto">
          <a:xfrm>
            <a:off x="9659931" y="795409"/>
            <a:ext cx="2269067" cy="1614311"/>
          </a:xfrm>
          <a:prstGeom prst="rect">
            <a:avLst/>
          </a:prstGeom>
          <a:noFill/>
          <a:effectLst>
            <a:glow rad="228600">
              <a:schemeClr val="accent1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14300" prst="artDeco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0681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C:\Users\user\Desktop\images (27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823" y="2072757"/>
            <a:ext cx="7090533" cy="4308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1820" y="672182"/>
            <a:ext cx="11064240" cy="1099091"/>
          </a:xfrm>
        </p:spPr>
        <p:txBody>
          <a:bodyPr>
            <a:no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жим питания и распределение суточной  калорийности пищи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15524" y="1771273"/>
            <a:ext cx="11064240" cy="4482037"/>
          </a:xfrm>
        </p:spPr>
        <p:txBody>
          <a:bodyPr/>
          <a:lstStyle/>
          <a:p>
            <a:pPr>
              <a:buFont typeface="Wingdings" pitchFamily="2" charset="2"/>
              <a:buNone/>
            </a:pPr>
            <a:endParaRPr lang="ru-RU" altLang="ru-RU" sz="2800" dirty="0" smtClean="0"/>
          </a:p>
          <a:p>
            <a:pPr marL="342900" indent="-342900" algn="l"/>
            <a:r>
              <a:rPr lang="ru-RU" alt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риемы пищи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трак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д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жин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endParaRPr lang="ru-RU" altLang="ru-RU" sz="2400" dirty="0" smtClean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l"/>
            <a:r>
              <a:rPr lang="ru-RU" altLang="ru-RU" sz="2800" b="1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ые приемы</a:t>
            </a:r>
          </a:p>
          <a:p>
            <a:pPr marL="457200" indent="-457200" algn="l">
              <a:buFont typeface="Arial" panose="020B0604020202020204" pitchFamily="34" charset="0"/>
              <a:buChar char="•"/>
              <a:tabLst>
                <a:tab pos="4392613" algn="l"/>
              </a:tabLst>
            </a:pPr>
            <a:r>
              <a:rPr lang="ru-RU" alt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рой завтрак</a:t>
            </a:r>
          </a:p>
          <a:p>
            <a:pPr marL="457200" indent="-457200" algn="l">
              <a:buFont typeface="Arial" panose="020B0604020202020204" pitchFamily="34" charset="0"/>
              <a:buChar char="•"/>
              <a:tabLst>
                <a:tab pos="4392613" algn="l"/>
              </a:tabLst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дник</a:t>
            </a:r>
          </a:p>
          <a:p>
            <a:endParaRPr lang="ru-RU" altLang="ru-RU" sz="1900" b="1" dirty="0" smtClean="0"/>
          </a:p>
        </p:txBody>
      </p:sp>
    </p:spTree>
    <p:extLst>
      <p:ext uri="{BB962C8B-B14F-4D97-AF65-F5344CB8AC3E}">
        <p14:creationId xmlns:p14="http://schemas.microsoft.com/office/powerpoint/2010/main" val="705082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66658" y="701482"/>
            <a:ext cx="11064240" cy="664845"/>
          </a:xfrm>
        </p:spPr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готовление блюд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одержимое 2"/>
          <p:cNvSpPr>
            <a:spLocks noGrp="1"/>
          </p:cNvSpPr>
          <p:nvPr>
            <p:ph type="subTitle" idx="1"/>
          </p:nvPr>
        </p:nvSpPr>
        <p:spPr>
          <a:xfrm>
            <a:off x="553446" y="1912590"/>
            <a:ext cx="6551892" cy="2946606"/>
          </a:xfrm>
        </p:spPr>
        <p:txBody>
          <a:bodyPr>
            <a:normAutofit lnSpcReduction="10000"/>
          </a:bodyPr>
          <a:lstStyle/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ru-RU" sz="32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уйте для приготовления отваривание, приготовление на пару, запекание, тушение</a:t>
            </a: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endParaRPr lang="ru-RU" sz="1800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ru-RU" sz="32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блюдайте технологию приготовления и правила хранения продуктов и блюд</a:t>
            </a:r>
            <a:endParaRPr lang="ru-RU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29" t="5385" r="17227" b="4544"/>
          <a:stretch/>
        </p:blipFill>
        <p:spPr bwMode="auto">
          <a:xfrm>
            <a:off x="7867286" y="3684044"/>
            <a:ext cx="1691904" cy="2401963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" t="7431" r="4229" b="6871"/>
          <a:stretch/>
        </p:blipFill>
        <p:spPr bwMode="auto">
          <a:xfrm>
            <a:off x="9973543" y="3792898"/>
            <a:ext cx="2003728" cy="1391079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C:\Users\user\Desktop\images (23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286" y="1906360"/>
            <a:ext cx="2396459" cy="1346505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89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264" b="29352"/>
          <a:stretch/>
        </p:blipFill>
        <p:spPr bwMode="auto">
          <a:xfrm>
            <a:off x="842834" y="3116911"/>
            <a:ext cx="10487771" cy="2568272"/>
          </a:xfrm>
          <a:prstGeom prst="rect">
            <a:avLst/>
          </a:prstGeom>
          <a:noFill/>
          <a:ln>
            <a:noFill/>
          </a:ln>
          <a:effectLst>
            <a:softEdge rad="635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1272209" y="3808675"/>
            <a:ext cx="9923227" cy="1184744"/>
          </a:xfrm>
          <a:prstGeom prst="roundRect">
            <a:avLst/>
          </a:prstGeom>
          <a:solidFill>
            <a:schemeClr val="bg1"/>
          </a:solidFill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554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1357" y="715463"/>
            <a:ext cx="11870724" cy="1047025"/>
          </a:xfrm>
          <a:prstGeom prst="rect">
            <a:avLst/>
          </a:prstGeom>
        </p:spPr>
        <p:txBody>
          <a:bodyPr anchor="t"/>
          <a:lstStyle/>
          <a:p>
            <a:pPr algn="ctr">
              <a:defRPr/>
            </a:pPr>
            <a:r>
              <a:rPr lang="ru-RU" sz="3600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ие</a:t>
            </a:r>
            <a:endParaRPr lang="ru-RU" sz="3600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555" name="Объект 2"/>
          <p:cNvSpPr>
            <a:spLocks noGrp="1"/>
          </p:cNvSpPr>
          <p:nvPr>
            <p:ph type="body" idx="4294967295"/>
          </p:nvPr>
        </p:nvSpPr>
        <p:spPr>
          <a:xfrm>
            <a:off x="375467" y="1590001"/>
            <a:ext cx="11422504" cy="3945001"/>
          </a:xfrm>
          <a:prstGeom prst="rect">
            <a:avLst/>
          </a:prstGeom>
        </p:spPr>
        <p:txBody>
          <a:bodyPr/>
          <a:lstStyle/>
          <a:p>
            <a:pPr marL="514350" indent="-514350">
              <a:lnSpc>
                <a:spcPct val="100000"/>
              </a:lnSpc>
              <a:buFont typeface="+mj-lt"/>
              <a:buAutoNum type="arabicPeriod"/>
            </a:pPr>
            <a:r>
              <a:rPr lang="ru-RU" dirty="0" smtClean="0">
                <a:solidFill>
                  <a:srgbClr val="2F4E1A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итание должно быть умеренным, сбалансированным и разнообразным</a:t>
            </a:r>
          </a:p>
          <a:p>
            <a:pPr marL="514350" indent="-514350">
              <a:lnSpc>
                <a:spcPct val="100000"/>
              </a:lnSpc>
              <a:buFont typeface="+mj-lt"/>
              <a:buAutoNum type="arabicPeriod"/>
            </a:pPr>
            <a:r>
              <a:rPr lang="ru-RU" dirty="0" smtClean="0">
                <a:solidFill>
                  <a:srgbClr val="2F4E1A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соблюдать </a:t>
            </a:r>
            <a:r>
              <a:rPr lang="ru-RU" b="1" dirty="0" smtClean="0">
                <a:solidFill>
                  <a:srgbClr val="2F4E1A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жим питания</a:t>
            </a:r>
          </a:p>
          <a:p>
            <a:pPr algn="ctr">
              <a:lnSpc>
                <a:spcPct val="80000"/>
              </a:lnSpc>
              <a:buNone/>
            </a:pPr>
            <a:endParaRPr lang="ru-RU" sz="2400" b="1" dirty="0" smtClean="0">
              <a:solidFill>
                <a:srgbClr val="2F4E1A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None/>
            </a:pPr>
            <a:endParaRPr lang="ru-RU" b="1" dirty="0" smtClean="0">
              <a:solidFill>
                <a:srgbClr val="2F4E1A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buNone/>
            </a:pPr>
            <a:r>
              <a:rPr lang="ru-RU" sz="2000" dirty="0" smtClean="0">
                <a:solidFill>
                  <a:srgbClr val="2F4E1A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ru-RU" sz="2400" b="1" dirty="0" smtClean="0">
                <a:solidFill>
                  <a:srgbClr val="2F4E1A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доровое питание </a:t>
            </a:r>
            <a:r>
              <a:rPr lang="ru-RU" sz="2400" dirty="0" smtClean="0">
                <a:solidFill>
                  <a:srgbClr val="2F4E1A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– это часть здорового образа жизни, </a:t>
            </a:r>
            <a:br>
              <a:rPr lang="ru-RU" sz="2400" dirty="0" smtClean="0">
                <a:solidFill>
                  <a:srgbClr val="2F4E1A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solidFill>
                  <a:srgbClr val="2F4E1A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ряду с физической активностью и отказом от вредных привычек</a:t>
            </a:r>
            <a:endParaRPr lang="ru-RU" sz="2400" dirty="0" smtClean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ru-RU" sz="2800" dirty="0" smtClean="0">
              <a:effectLst>
                <a:outerShdw blurRad="38100" dist="38100" dir="2700000" algn="tl">
                  <a:srgbClr val="FFFFFF"/>
                </a:outerShdw>
              </a:effectLst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ru-RU" sz="2800" dirty="0" smtClean="0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229617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user\Desktop\images (22).jpg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846" y="778932"/>
            <a:ext cx="7890934" cy="5678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17"/>
          <p:cNvSpPr txBox="1">
            <a:spLocks noChangeArrowheads="1"/>
          </p:cNvSpPr>
          <p:nvPr/>
        </p:nvSpPr>
        <p:spPr bwMode="auto">
          <a:xfrm>
            <a:off x="222575" y="2484622"/>
            <a:ext cx="11593688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ОРОВОЕ ПИТАНИЕ </a:t>
            </a:r>
            <a:r>
              <a:rPr lang="ru-RU" sz="3200" b="1" dirty="0" smtClean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</a:p>
          <a:p>
            <a:r>
              <a:rPr lang="ru-RU" sz="3200" dirty="0" smtClean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необходимое поступление с пищей энергии, пищевых и биологически активных веществ, обеспечивающее оптимальную функцию организма</a:t>
            </a:r>
          </a:p>
          <a:p>
            <a:pPr algn="ctr">
              <a:defRPr/>
            </a:pP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6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C:\Users\user\Desktop\images (41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Marker/>
                    </a14:imgEffect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165" y="1031294"/>
            <a:ext cx="5997045" cy="3616085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Скругленный прямоугольник 3"/>
          <p:cNvSpPr/>
          <p:nvPr/>
        </p:nvSpPr>
        <p:spPr>
          <a:xfrm>
            <a:off x="1546577" y="4436532"/>
            <a:ext cx="8918222" cy="108373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54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5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273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25778" y="711386"/>
            <a:ext cx="11966222" cy="1071825"/>
          </a:xfrm>
          <a:solidFill>
            <a:schemeClr val="bg1"/>
          </a:solidFill>
        </p:spPr>
        <p:txBody>
          <a:bodyPr>
            <a:noAutofit/>
          </a:bodyPr>
          <a:lstStyle/>
          <a:p>
            <a:pPr>
              <a:tabLst>
                <a:tab pos="2428875" algn="l"/>
              </a:tabLst>
            </a:pPr>
            <a:r>
              <a:rPr lang="ru-RU" altLang="ru-RU" sz="3600" dirty="0">
                <a:latin typeface="Times New Roman" panose="02020603050405020304" pitchFamily="18" charset="0"/>
                <a:ea typeface="Snell Roundhand Black"/>
                <a:cs typeface="Times New Roman" panose="02020603050405020304" pitchFamily="18" charset="0"/>
              </a:rPr>
              <a:t>Здоровое питания – основа профилактики большинства хронических заболеваний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-133986" y="2037424"/>
            <a:ext cx="6478157" cy="3953689"/>
          </a:xfrm>
        </p:spPr>
        <p:txBody>
          <a:bodyPr/>
          <a:lstStyle/>
          <a:p>
            <a:pPr marL="912813" indent="-342900" algn="l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altLang="ru-RU" sz="2400" dirty="0">
                <a:solidFill>
                  <a:srgbClr val="2F4E1A"/>
                </a:solidFill>
                <a:latin typeface="Times New Roman" panose="02020603050405020304" pitchFamily="18" charset="0"/>
                <a:ea typeface="Snell Roundhand Black"/>
                <a:cs typeface="Times New Roman" panose="02020603050405020304" pitchFamily="18" charset="0"/>
              </a:rPr>
              <a:t>Повышения артериального давления</a:t>
            </a:r>
          </a:p>
          <a:p>
            <a:pPr marL="912813" indent="-342900" algn="l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altLang="ru-RU" sz="2400" dirty="0">
                <a:solidFill>
                  <a:srgbClr val="2F4E1A"/>
                </a:solidFill>
                <a:latin typeface="Times New Roman" panose="02020603050405020304" pitchFamily="18" charset="0"/>
                <a:ea typeface="Snell Roundhand Black"/>
                <a:cs typeface="Times New Roman" panose="02020603050405020304" pitchFamily="18" charset="0"/>
              </a:rPr>
              <a:t>Заболеваний сердца и сосудов</a:t>
            </a:r>
          </a:p>
          <a:p>
            <a:pPr marL="912813" indent="-342900" algn="l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altLang="ru-RU" sz="2400" dirty="0">
                <a:solidFill>
                  <a:srgbClr val="2F4E1A"/>
                </a:solidFill>
                <a:latin typeface="Times New Roman" panose="02020603050405020304" pitchFamily="18" charset="0"/>
                <a:ea typeface="Snell Roundhand Black"/>
                <a:cs typeface="Times New Roman" panose="02020603050405020304" pitchFamily="18" charset="0"/>
              </a:rPr>
              <a:t>Ожирения</a:t>
            </a:r>
          </a:p>
          <a:p>
            <a:pPr marL="912813" indent="-342900" algn="l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altLang="ru-RU" sz="2400" dirty="0">
                <a:solidFill>
                  <a:srgbClr val="2F4E1A"/>
                </a:solidFill>
                <a:latin typeface="Times New Roman" panose="02020603050405020304" pitchFamily="18" charset="0"/>
                <a:ea typeface="Snell Roundhand Black"/>
                <a:cs typeface="Times New Roman" panose="02020603050405020304" pitchFamily="18" charset="0"/>
              </a:rPr>
              <a:t>Сахарного диабета</a:t>
            </a:r>
          </a:p>
          <a:p>
            <a:pPr marL="912813" indent="-342900" algn="l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altLang="ru-RU" sz="2400" dirty="0">
                <a:solidFill>
                  <a:srgbClr val="2F4E1A"/>
                </a:solidFill>
                <a:latin typeface="Times New Roman" panose="02020603050405020304" pitchFamily="18" charset="0"/>
                <a:ea typeface="Snell Roundhand Black"/>
                <a:cs typeface="Times New Roman" panose="02020603050405020304" pitchFamily="18" charset="0"/>
              </a:rPr>
              <a:t>Подагры</a:t>
            </a:r>
          </a:p>
          <a:p>
            <a:pPr marL="912813" indent="-342900" algn="l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altLang="ru-RU" sz="2400" dirty="0">
                <a:solidFill>
                  <a:srgbClr val="2F4E1A"/>
                </a:solidFill>
                <a:latin typeface="Times New Roman" panose="02020603050405020304" pitchFamily="18" charset="0"/>
                <a:ea typeface="Snell Roundhand Black"/>
                <a:cs typeface="Times New Roman" panose="02020603050405020304" pitchFamily="18" charset="0"/>
              </a:rPr>
              <a:t>Онкологических заболеваний</a:t>
            </a:r>
          </a:p>
          <a:p>
            <a:pPr marL="912813" indent="-342900" algn="l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altLang="ru-RU" sz="2400" dirty="0">
                <a:solidFill>
                  <a:srgbClr val="2F4E1A"/>
                </a:solidFill>
                <a:latin typeface="Times New Roman" panose="02020603050405020304" pitchFamily="18" charset="0"/>
                <a:ea typeface="Snell Roundhand Black"/>
                <a:cs typeface="Times New Roman" panose="02020603050405020304" pitchFamily="18" charset="0"/>
              </a:rPr>
              <a:t>Болезней суставов и остеопороза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ru-RU" dirty="0"/>
          </a:p>
        </p:txBody>
      </p:sp>
      <p:sp>
        <p:nvSpPr>
          <p:cNvPr id="6" name="Скругленный прямоугольник 12"/>
          <p:cNvSpPr/>
          <p:nvPr/>
        </p:nvSpPr>
        <p:spPr>
          <a:xfrm>
            <a:off x="6733916" y="2037424"/>
            <a:ext cx="4812821" cy="3825359"/>
          </a:xfrm>
          <a:prstGeom prst="roundRect">
            <a:avLst/>
          </a:prstGeom>
          <a:gradFill flip="none" rotWithShape="1">
            <a:gsLst>
              <a:gs pos="0">
                <a:srgbClr val="FF8F8F">
                  <a:tint val="66000"/>
                  <a:satMod val="160000"/>
                </a:srgbClr>
              </a:gs>
              <a:gs pos="50000">
                <a:srgbClr val="FF8F8F">
                  <a:tint val="44500"/>
                  <a:satMod val="160000"/>
                </a:srgbClr>
              </a:gs>
              <a:gs pos="100000">
                <a:srgbClr val="FF8F8F">
                  <a:tint val="23500"/>
                  <a:satMod val="160000"/>
                </a:srgbClr>
              </a:gs>
            </a:gsLst>
            <a:lin ang="16200000" scaled="1"/>
            <a:tileRect/>
          </a:gradFill>
          <a:ln w="19050"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000" b="1" dirty="0">
              <a:solidFill>
                <a:srgbClr val="C00000"/>
              </a:solidFill>
            </a:endParaRPr>
          </a:p>
          <a:p>
            <a:pPr algn="ctr" eaLnBrk="1" hangingPunct="1">
              <a:spcBef>
                <a:spcPct val="50000"/>
              </a:spcBef>
              <a:defRPr/>
            </a:pPr>
            <a:endParaRPr lang="ru-RU" sz="2000" b="1" dirty="0">
              <a:solidFill>
                <a:srgbClr val="C00000"/>
              </a:solidFill>
            </a:endParaRPr>
          </a:p>
          <a:p>
            <a:pPr algn="ctr" eaLnBrk="1" hangingPunct="1">
              <a:spcBef>
                <a:spcPct val="50000"/>
              </a:spcBef>
              <a:defRPr/>
            </a:pPr>
            <a:r>
              <a:rPr 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оровое питание необходимо для профилактики множества заболеваний!!!</a:t>
            </a:r>
            <a:endParaRPr lang="ru-RU" sz="2800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spcBef>
                <a:spcPct val="50000"/>
              </a:spcBef>
              <a:defRPr/>
            </a:pPr>
            <a:endParaRPr lang="ru-RU" sz="2000" b="1" dirty="0">
              <a:solidFill>
                <a:srgbClr val="C00000"/>
              </a:solidFill>
            </a:endParaRPr>
          </a:p>
          <a:p>
            <a:pPr algn="ctr" eaLnBrk="1" hangingPunct="1">
              <a:defRPr/>
            </a:pPr>
            <a:endParaRPr lang="ru-RU" sz="2000" b="1" dirty="0">
              <a:solidFill>
                <a:srgbClr val="C00000"/>
              </a:solidFill>
            </a:endParaRPr>
          </a:p>
          <a:p>
            <a:pPr algn="ctr" eaLnBrk="1" hangingPunct="1">
              <a:defRPr/>
            </a:pPr>
            <a:endParaRPr lang="ru-RU" sz="2000" dirty="0">
              <a:solidFill>
                <a:srgbClr val="C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19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Прямая соединительная линия 22"/>
          <p:cNvCxnSpPr>
            <a:endCxn id="12" idx="2"/>
          </p:cNvCxnSpPr>
          <p:nvPr/>
        </p:nvCxnSpPr>
        <p:spPr>
          <a:xfrm rot="16200000" flipH="1">
            <a:off x="8314458" y="4069453"/>
            <a:ext cx="3569730" cy="104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6026150" y="2336800"/>
            <a:ext cx="71967" cy="34972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2019301" y="2336800"/>
            <a:ext cx="0" cy="35306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65997" y="694481"/>
            <a:ext cx="11064240" cy="664845"/>
          </a:xfrm>
        </p:spPr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иды нарушения питания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Объект 3"/>
          <p:cNvSpPr txBox="1">
            <a:spLocks/>
          </p:cNvSpPr>
          <p:nvPr/>
        </p:nvSpPr>
        <p:spPr>
          <a:xfrm>
            <a:off x="582085" y="1628750"/>
            <a:ext cx="10972800" cy="820738"/>
          </a:xfrm>
          <a:prstGeom prst="flowChartAlternateProcess">
            <a:avLst/>
          </a:prstGeom>
          <a:solidFill>
            <a:schemeClr val="accent2">
              <a:lumMod val="60000"/>
              <a:lumOff val="40000"/>
            </a:schemeClr>
          </a:solidFill>
          <a:ln w="10795" cap="flat" cmpd="sng" algn="ctr">
            <a:solidFill>
              <a:srgbClr val="92D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defRPr/>
            </a:pPr>
            <a:r>
              <a:rPr lang="ru-RU" altLang="ru-RU" sz="28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нарушения питания </a:t>
            </a:r>
            <a:endParaRPr lang="ru-RU" altLang="ru-RU" sz="28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Объект 3"/>
          <p:cNvSpPr txBox="1">
            <a:spLocks/>
          </p:cNvSpPr>
          <p:nvPr/>
        </p:nvSpPr>
        <p:spPr bwMode="auto">
          <a:xfrm>
            <a:off x="615951" y="2733675"/>
            <a:ext cx="2806700" cy="820738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2825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lang="ru-RU"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Courier New" panose="02070309020205020404" pitchFamily="49" charset="0"/>
              <a:buChar char="o"/>
              <a:defRPr lang="ru-RU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8FA9"/>
              </a:buClr>
              <a:buFont typeface="Arial" panose="020B0604020202020204" pitchFamily="34" charset="0"/>
              <a:buChar char="•"/>
              <a:defRPr lang="ru-RU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A66AC"/>
              </a:buClr>
              <a:buFont typeface="Arial" panose="020B0604020202020204" pitchFamily="34" charset="0"/>
              <a:buChar char="•"/>
              <a:defRPr lang="ru-RU"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AA2AE"/>
              </a:buClr>
              <a:buFont typeface="Arial" panose="020B0604020202020204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Font typeface="Arial" pitchFamily="34" charset="0"/>
              <a:buNone/>
              <a:defRPr/>
            </a:pPr>
            <a:r>
              <a:rPr altLang="ru-RU" sz="2000" b="1" dirty="0" smtClean="0">
                <a:solidFill>
                  <a:srgbClr val="002060"/>
                </a:solidFill>
              </a:rPr>
              <a:t>Недостаточное питание</a:t>
            </a:r>
            <a:endParaRPr altLang="ru-RU" sz="2000" b="1" dirty="0">
              <a:solidFill>
                <a:srgbClr val="002060"/>
              </a:solidFill>
            </a:endParaRPr>
          </a:p>
        </p:txBody>
      </p:sp>
      <p:sp>
        <p:nvSpPr>
          <p:cNvPr id="6" name="Объект 3"/>
          <p:cNvSpPr txBox="1">
            <a:spLocks/>
          </p:cNvSpPr>
          <p:nvPr/>
        </p:nvSpPr>
        <p:spPr bwMode="auto">
          <a:xfrm>
            <a:off x="615951" y="3890964"/>
            <a:ext cx="2806700" cy="1966139"/>
          </a:xfrm>
          <a:prstGeom prst="flowChartAlternateProcess">
            <a:avLst/>
          </a:prstGeom>
          <a:solidFill>
            <a:schemeClr val="accent2">
              <a:lumMod val="40000"/>
              <a:lumOff val="60000"/>
            </a:schemeClr>
          </a:solidFill>
          <a:ln w="28250" cap="flat" cmpd="sng" algn="ctr">
            <a:solidFill>
              <a:srgbClr val="92D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lang="ru-RU"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Courier New" panose="02070309020205020404" pitchFamily="49" charset="0"/>
              <a:buChar char="o"/>
              <a:defRPr lang="ru-RU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8FA9"/>
              </a:buClr>
              <a:buFont typeface="Arial" panose="020B0604020202020204" pitchFamily="34" charset="0"/>
              <a:buChar char="•"/>
              <a:defRPr lang="ru-RU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A66AC"/>
              </a:buClr>
              <a:buFont typeface="Arial" panose="020B0604020202020204" pitchFamily="34" charset="0"/>
              <a:buChar char="•"/>
              <a:defRPr lang="ru-RU"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AA2AE"/>
              </a:buClr>
              <a:buFont typeface="Arial" panose="020B0604020202020204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Font typeface="Arial" pitchFamily="34" charset="0"/>
              <a:buNone/>
              <a:defRPr/>
            </a:pPr>
            <a:r>
              <a:rPr alt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чность белка, витаминов и микроэлементов</a:t>
            </a:r>
            <a:endParaRPr altLang="ru-RU" sz="20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3"/>
          <p:cNvSpPr txBox="1">
            <a:spLocks/>
          </p:cNvSpPr>
          <p:nvPr/>
        </p:nvSpPr>
        <p:spPr bwMode="auto">
          <a:xfrm>
            <a:off x="4601634" y="2632075"/>
            <a:ext cx="2849033" cy="820738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2825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lang="ru-RU"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Courier New" panose="02070309020205020404" pitchFamily="49" charset="0"/>
              <a:buChar char="o"/>
              <a:defRPr lang="ru-RU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8FA9"/>
              </a:buClr>
              <a:buFont typeface="Arial" panose="020B0604020202020204" pitchFamily="34" charset="0"/>
              <a:buChar char="•"/>
              <a:defRPr lang="ru-RU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A66AC"/>
              </a:buClr>
              <a:buFont typeface="Arial" panose="020B0604020202020204" pitchFamily="34" charset="0"/>
              <a:buChar char="•"/>
              <a:defRPr lang="ru-RU"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AA2AE"/>
              </a:buClr>
              <a:buFont typeface="Arial" panose="020B0604020202020204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Font typeface="Arial" pitchFamily="34" charset="0"/>
              <a:buNone/>
              <a:defRPr/>
            </a:pPr>
            <a:r>
              <a:rPr altLang="ru-RU" sz="20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alt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быточное питание</a:t>
            </a:r>
            <a:endParaRPr altLang="ru-RU" sz="20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Объект 3"/>
          <p:cNvSpPr txBox="1">
            <a:spLocks/>
          </p:cNvSpPr>
          <p:nvPr/>
        </p:nvSpPr>
        <p:spPr bwMode="auto">
          <a:xfrm>
            <a:off x="4622800" y="3842106"/>
            <a:ext cx="2806700" cy="2052067"/>
          </a:xfrm>
          <a:prstGeom prst="flowChartAlternateProcess">
            <a:avLst/>
          </a:prstGeom>
          <a:solidFill>
            <a:schemeClr val="accent2">
              <a:lumMod val="40000"/>
              <a:lumOff val="60000"/>
            </a:schemeClr>
          </a:solidFill>
          <a:ln w="28250" cap="flat" cmpd="sng" algn="ctr">
            <a:solidFill>
              <a:srgbClr val="92D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lang="ru-RU"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Courier New" panose="02070309020205020404" pitchFamily="49" charset="0"/>
              <a:buChar char="o"/>
              <a:defRPr lang="ru-RU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8FA9"/>
              </a:buClr>
              <a:buFont typeface="Arial" panose="020B0604020202020204" pitchFamily="34" charset="0"/>
              <a:buChar char="•"/>
              <a:defRPr lang="ru-RU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A66AC"/>
              </a:buClr>
              <a:buFont typeface="Arial" panose="020B0604020202020204" pitchFamily="34" charset="0"/>
              <a:buChar char="•"/>
              <a:defRPr lang="ru-RU"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AA2AE"/>
              </a:buClr>
              <a:buFont typeface="Arial" panose="020B0604020202020204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Font typeface="Arial" pitchFamily="34" charset="0"/>
              <a:buNone/>
              <a:defRPr/>
            </a:pPr>
            <a:r>
              <a:rPr alt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быточная масса тела</a:t>
            </a:r>
            <a:r>
              <a:rPr altLang="ru-RU" sz="200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жирение</a:t>
            </a:r>
            <a:endParaRPr altLang="ru-RU" sz="20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Объект 3"/>
          <p:cNvSpPr txBox="1">
            <a:spLocks/>
          </p:cNvSpPr>
          <p:nvPr/>
        </p:nvSpPr>
        <p:spPr bwMode="auto">
          <a:xfrm>
            <a:off x="8731251" y="2633664"/>
            <a:ext cx="2851149" cy="820737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2825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lang="ru-RU"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Courier New" panose="02070309020205020404" pitchFamily="49" charset="0"/>
              <a:buChar char="o"/>
              <a:defRPr lang="ru-RU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8FA9"/>
              </a:buClr>
              <a:buFont typeface="Arial" panose="020B0604020202020204" pitchFamily="34" charset="0"/>
              <a:buChar char="•"/>
              <a:defRPr lang="ru-RU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A66AC"/>
              </a:buClr>
              <a:buFont typeface="Arial" panose="020B0604020202020204" pitchFamily="34" charset="0"/>
              <a:buChar char="•"/>
              <a:defRPr lang="ru-RU"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AA2AE"/>
              </a:buClr>
              <a:buFont typeface="Arial" panose="020B0604020202020204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Font typeface="Arial" pitchFamily="34" charset="0"/>
              <a:buNone/>
              <a:defRPr/>
            </a:pPr>
            <a:r>
              <a:rPr alt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стройство пищевого поведения</a:t>
            </a:r>
            <a:endParaRPr altLang="ru-RU" sz="20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Объект 3"/>
          <p:cNvSpPr txBox="1">
            <a:spLocks/>
          </p:cNvSpPr>
          <p:nvPr/>
        </p:nvSpPr>
        <p:spPr bwMode="auto">
          <a:xfrm>
            <a:off x="8748185" y="3789364"/>
            <a:ext cx="2806700" cy="2117166"/>
          </a:xfrm>
          <a:prstGeom prst="flowChartAlternateProcess">
            <a:avLst/>
          </a:prstGeom>
          <a:solidFill>
            <a:schemeClr val="accent2">
              <a:lumMod val="40000"/>
              <a:lumOff val="60000"/>
            </a:schemeClr>
          </a:solidFill>
          <a:ln w="28250" cap="flat" cmpd="sng" algn="ctr">
            <a:solidFill>
              <a:srgbClr val="92D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lang="ru-RU"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Courier New" panose="02070309020205020404" pitchFamily="49" charset="0"/>
              <a:buChar char="o"/>
              <a:defRPr lang="ru-RU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8FA9"/>
              </a:buClr>
              <a:buFont typeface="Arial" panose="020B0604020202020204" pitchFamily="34" charset="0"/>
              <a:buChar char="•"/>
              <a:defRPr lang="ru-RU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A66AC"/>
              </a:buClr>
              <a:buFont typeface="Arial" panose="020B0604020202020204" pitchFamily="34" charset="0"/>
              <a:buChar char="•"/>
              <a:defRPr lang="ru-RU"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AA2AE"/>
              </a:buClr>
              <a:buFont typeface="Arial" panose="020B0604020202020204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Font typeface="Arial" pitchFamily="34" charset="0"/>
              <a:buNone/>
              <a:defRPr/>
            </a:pPr>
            <a:r>
              <a:rPr altLang="ru-RU" sz="200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"Ночное обжорство", анорексия (истощение) и другие</a:t>
            </a:r>
            <a:endParaRPr altLang="ru-RU" sz="20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Объект 3"/>
          <p:cNvSpPr txBox="1">
            <a:spLocks/>
          </p:cNvSpPr>
          <p:nvPr/>
        </p:nvSpPr>
        <p:spPr bwMode="auto">
          <a:xfrm>
            <a:off x="593636" y="2747169"/>
            <a:ext cx="2806700" cy="820738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28250" cap="flat" cmpd="sng" algn="ctr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342900" indent="-342900" algn="l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buChar char="•"/>
              <a:defRPr lang="ru-RU"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Courier New" panose="02070309020205020404" pitchFamily="49" charset="0"/>
              <a:buChar char="o"/>
              <a:defRPr lang="ru-RU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8FA9"/>
              </a:buClr>
              <a:buFont typeface="Arial" panose="020B0604020202020204" pitchFamily="34" charset="0"/>
              <a:buChar char="•"/>
              <a:defRPr lang="ru-RU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A66AC"/>
              </a:buClr>
              <a:buFont typeface="Arial" panose="020B0604020202020204" pitchFamily="34" charset="0"/>
              <a:buChar char="•"/>
              <a:defRPr lang="ru-RU"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AA2AE"/>
              </a:buClr>
              <a:buFont typeface="Arial" panose="020B0604020202020204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lang="ru-RU"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Font typeface="Arial" pitchFamily="34" charset="0"/>
              <a:buNone/>
              <a:defRPr/>
            </a:pPr>
            <a:r>
              <a:rPr alt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чное питание</a:t>
            </a:r>
            <a:endParaRPr altLang="ru-RU" sz="2000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25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541302" y="699728"/>
            <a:ext cx="11064240" cy="664845"/>
          </a:xfrm>
        </p:spPr>
        <p:txBody>
          <a:bodyPr rtlCol="0">
            <a:no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36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</a:t>
            </a:r>
            <a:r>
              <a:rPr lang="ru-RU" sz="3600" b="1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егативные последствия  ожирения</a:t>
            </a:r>
            <a:endParaRPr lang="ru-RU" sz="3600" b="1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Объект 2"/>
          <p:cNvSpPr>
            <a:spLocks noGrp="1"/>
          </p:cNvSpPr>
          <p:nvPr>
            <p:ph type="subTitle" idx="1"/>
          </p:nvPr>
        </p:nvSpPr>
        <p:spPr>
          <a:xfrm>
            <a:off x="484858" y="1989438"/>
            <a:ext cx="5317631" cy="4478743"/>
          </a:xfrm>
          <a:solidFill>
            <a:schemeClr val="bg1">
              <a:lumMod val="95000"/>
            </a:schemeClr>
          </a:solidFill>
          <a:effectLst>
            <a:softEdge rad="127000"/>
          </a:effectLst>
        </p:spPr>
        <p:txBody>
          <a:bodyPr rtlCol="0">
            <a:normAutofit fontScale="85000" lnSpcReduction="20000"/>
          </a:bodyPr>
          <a:lstStyle/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харный диабет 2 </a:t>
            </a:r>
            <a:r>
              <a:rPr lang="ru-RU" alt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ипа</a:t>
            </a:r>
          </a:p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шемическая болезнь  сердца</a:t>
            </a:r>
            <a:endParaRPr lang="ru-RU" altLang="ru-RU" sz="2800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териальная </a:t>
            </a:r>
            <a:r>
              <a:rPr lang="ru-RU" alt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пертензия </a:t>
            </a:r>
          </a:p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ния суставов</a:t>
            </a:r>
            <a:endParaRPr lang="ru-RU" altLang="ru-RU" sz="2800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окачественные опухоли отдельных локализаций </a:t>
            </a:r>
          </a:p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которые репродуктивные нарушения </a:t>
            </a:r>
          </a:p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елчно-каменная болезнь </a:t>
            </a:r>
          </a:p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алкогольный </a:t>
            </a: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атогепатит</a:t>
            </a:r>
            <a:endParaRPr lang="ru-RU" altLang="ru-RU" sz="2800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l" fontAlgn="auto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сихологическая и социальная </a:t>
            </a:r>
            <a:r>
              <a:rPr lang="ru-RU" altLang="ru-RU" sz="2800" dirty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задаптация </a:t>
            </a:r>
            <a:r>
              <a:rPr lang="ru-RU" altLang="ru-RU" sz="2800" dirty="0" smtClean="0">
                <a:solidFill>
                  <a:srgbClr val="2F4E1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2800" dirty="0">
              <a:solidFill>
                <a:srgbClr val="2F4E1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l" fontAlgn="auto"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altLang="ru-RU" sz="1800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073422" y="1625599"/>
            <a:ext cx="5813778" cy="23255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жирение становится причиной развития многих заболеваний, поэтому оно требует комплексного лечения, основой которого является 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оровое питание </a:t>
            </a: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стремление к здоровому образу жизни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00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AutoShape 5" descr="ÐÐ°ÑÑÐ¸Ð½ÐºÐ¸ Ð¿Ð¾ Ð·Ð°Ð¿ÑÐ¾ÑÑ Ð·Ð´Ð¾ÑÐ¾Ð²Ð¾Ðµ Ð¿Ð¸ÑÐ°Ð½Ð¸Ðµ ÐºÐ°ÑÑÐ¸Ð½ÐºÐ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9222" name="Picture 6" descr="C:\Users\user\Desktop\images (32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0089" y="4042310"/>
            <a:ext cx="2077156" cy="207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414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2102" y="682605"/>
            <a:ext cx="11064240" cy="664845"/>
          </a:xfrm>
        </p:spPr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декс массы тела ИМТ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234" y="1422400"/>
            <a:ext cx="5746609" cy="4639733"/>
          </a:xfrm>
        </p:spPr>
        <p:txBody>
          <a:bodyPr/>
          <a:lstStyle/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диагностики  ожирения используют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Т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бы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считать индекс массы тела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су тела 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 килограммах) разделить на возведенный в квадрат рост (в метрах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</a:p>
          <a:p>
            <a:pPr algn="l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ИМТ </a:t>
            </a:r>
            <a:r>
              <a:rPr lang="ru-RU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 вес (кг): (рост (м))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endParaRPr lang="ru-RU" b="1" dirty="0">
              <a:solidFill>
                <a:srgbClr val="17260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314" name="Picture 2" descr="C:\Users\user\Desktop\stepeni-ozhireniya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15" t="9468" r="815" b="9634"/>
          <a:stretch/>
        </p:blipFill>
        <p:spPr bwMode="auto">
          <a:xfrm>
            <a:off x="6050843" y="1910644"/>
            <a:ext cx="5892800" cy="3036711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6197600" y="5228146"/>
            <a:ext cx="588151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, входящие данные таковы: </a:t>
            </a:r>
            <a:r>
              <a:rPr lang="ru-RU" i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са тела </a:t>
            </a:r>
            <a:r>
              <a:rPr lang="ru-RU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 </a:t>
            </a:r>
            <a:r>
              <a:rPr lang="ru-RU" b="1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5 кг</a:t>
            </a:r>
            <a:r>
              <a:rPr lang="ru-RU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рост = </a:t>
            </a:r>
            <a:r>
              <a:rPr lang="ru-RU" b="1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5</a:t>
            </a:r>
            <a:r>
              <a:rPr lang="ru-RU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м. </a:t>
            </a:r>
            <a:endParaRPr lang="ru-RU" i="1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i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едовательно</a:t>
            </a:r>
            <a:r>
              <a:rPr lang="ru-RU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b="1" i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Т = 85:(1,65×1,65) = 31,2</a:t>
            </a:r>
          </a:p>
        </p:txBody>
      </p:sp>
    </p:spTree>
    <p:extLst>
      <p:ext uri="{BB962C8B-B14F-4D97-AF65-F5344CB8AC3E}">
        <p14:creationId xmlns:p14="http://schemas.microsoft.com/office/powerpoint/2010/main" val="67404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5971822" y="781064"/>
            <a:ext cx="5960534" cy="556776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22422" y="4680971"/>
            <a:ext cx="5885431" cy="1756899"/>
          </a:xfrm>
        </p:spPr>
        <p:txBody>
          <a:bodyPr/>
          <a:lstStyle/>
          <a:p>
            <a:pPr algn="l"/>
            <a:r>
              <a:rPr lang="ru-RU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ксей Алексеевич ПОКРОВСКИЙ </a:t>
            </a: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16–1976)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—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Института питания РАМН, советский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иохимик, нутрициолог, основатель науки о питании, лауреат Государственной преми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ССР 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 descr="Покровский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62" y="859148"/>
            <a:ext cx="4555830" cy="3865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 descr="C:\Users\user\Desktop\Без названия (7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0" t="4407" r="3739" b="3322"/>
          <a:stretch/>
        </p:blipFill>
        <p:spPr bwMode="auto">
          <a:xfrm>
            <a:off x="6084710" y="1449388"/>
            <a:ext cx="3901755" cy="2822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:\Users\user\Desktop\6532921619_3_330_330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683"/>
          <a:stretch/>
        </p:blipFill>
        <p:spPr bwMode="auto">
          <a:xfrm rot="591805">
            <a:off x="8638766" y="3777219"/>
            <a:ext cx="2695399" cy="2515252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422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302149" y="1335818"/>
            <a:ext cx="11616855" cy="446863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657970" y="2314166"/>
            <a:ext cx="11064240" cy="1550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60363" algn="l"/>
              </a:tabLst>
              <a:defRPr/>
            </a:pPr>
            <a:r>
              <a:rPr lang="ru-RU" sz="32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ребности человека в питании зависят </a:t>
            </a:r>
            <a:r>
              <a:rPr lang="ru-RU" sz="32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</a:p>
          <a:p>
            <a:pPr>
              <a:tabLst>
                <a:tab pos="360363" algn="l"/>
              </a:tabLst>
              <a:defRPr/>
            </a:pPr>
            <a:r>
              <a:rPr lang="ru-RU" sz="3200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200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ла, возраста, характера труда и климатических условий проживания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4338" name="Picture 2" descr="ÐÐ°ÑÑÐ¸Ð½ÐºÐ¸ Ð¿Ð¾ Ð·Ð°Ð¿ÑÐ¾ÑÑ Ð¿Ð¾ÑÑÐµÐ±Ð½Ð¾ÑÑÐ¸ Ð² Ð¿Ð¸ÑÐ°Ð½Ð¸Ð¸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0" t="5021" r="4117" b="4453"/>
          <a:stretch/>
        </p:blipFill>
        <p:spPr bwMode="auto">
          <a:xfrm>
            <a:off x="5200153" y="4086971"/>
            <a:ext cx="1979875" cy="1940118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685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n4vY0ZQmqoQKzlFGOh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cxTgbhR1efGSOuNX.c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9XFZY.Q4y02zh6922V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d5R0PxS0GJQ9pEDwSL7A"/>
</p:tagLst>
</file>

<file path=ppt/theme/theme1.xml><?xml version="1.0" encoding="utf-8"?>
<a:theme xmlns:a="http://schemas.openxmlformats.org/drawingml/2006/main" name="Тема Office">
  <a:themeElements>
    <a:clrScheme name="Зеленый и желтый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Дымчатое стекло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3568</TotalTime>
  <Words>844</Words>
  <Application>Microsoft Office PowerPoint</Application>
  <PresentationFormat>Произвольный</PresentationFormat>
  <Paragraphs>201</Paragraphs>
  <Slides>30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2" baseType="lpstr">
      <vt:lpstr>Тема Office</vt:lpstr>
      <vt:lpstr>think-cell Slide</vt:lpstr>
      <vt:lpstr> Основные принципы здорового питания</vt:lpstr>
      <vt:lpstr>Здоровый образ жизни</vt:lpstr>
      <vt:lpstr>Презентация PowerPoint</vt:lpstr>
      <vt:lpstr>Здоровое питания – основа профилактики большинства хронических заболеваний</vt:lpstr>
      <vt:lpstr>Виды нарушения питания</vt:lpstr>
      <vt:lpstr>Негативные последствия  ожирения</vt:lpstr>
      <vt:lpstr>Индекс массы тела ИМТ</vt:lpstr>
      <vt:lpstr>Презентация PowerPoint</vt:lpstr>
      <vt:lpstr>Презентация PowerPoint</vt:lpstr>
      <vt:lpstr>Первый закон питания</vt:lpstr>
      <vt:lpstr>Поступление энергии с пищей</vt:lpstr>
      <vt:lpstr>Правило энергетического баланса</vt:lpstr>
      <vt:lpstr>Второй закон питания</vt:lpstr>
      <vt:lpstr>Тарелка здорового питания</vt:lpstr>
      <vt:lpstr> Источники белка</vt:lpstr>
      <vt:lpstr>Мясо и мясные продукты</vt:lpstr>
      <vt:lpstr>Молоко и молочные продукты</vt:lpstr>
      <vt:lpstr>Рыба</vt:lpstr>
      <vt:lpstr>Орехи</vt:lpstr>
      <vt:lpstr>Цельнозерновые продукты и бобовые</vt:lpstr>
      <vt:lpstr>Углеводы</vt:lpstr>
      <vt:lpstr>Овощи и фрукты</vt:lpstr>
      <vt:lpstr>Сахар</vt:lpstr>
      <vt:lpstr>Растительные масла</vt:lpstr>
      <vt:lpstr>Соль</vt:lpstr>
      <vt:lpstr>Режим питания</vt:lpstr>
      <vt:lpstr>Режим питания и распределение суточной  калорийности пищи</vt:lpstr>
      <vt:lpstr>Приготовление блюд</vt:lpstr>
      <vt:lpstr>Заключение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наев Иван Юрьевич</dc:creator>
  <cp:lastModifiedBy>user</cp:lastModifiedBy>
  <cp:revision>282</cp:revision>
  <cp:lastPrinted>2018-11-27T10:48:18Z</cp:lastPrinted>
  <dcterms:created xsi:type="dcterms:W3CDTF">2018-11-16T08:24:30Z</dcterms:created>
  <dcterms:modified xsi:type="dcterms:W3CDTF">2023-04-20T12:00:38Z</dcterms:modified>
</cp:coreProperties>
</file>